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77" r:id="rId3"/>
    <p:sldMasterId id="2147483687" r:id="rId4"/>
    <p:sldMasterId id="2147483700" r:id="rId5"/>
    <p:sldMasterId id="2147483748" r:id="rId6"/>
    <p:sldMasterId id="2147483764" r:id="rId7"/>
    <p:sldMasterId id="2147483780" r:id="rId8"/>
  </p:sldMasterIdLst>
  <p:notesMasterIdLst>
    <p:notesMasterId r:id="rId27"/>
  </p:notesMasterIdLst>
  <p:sldIdLst>
    <p:sldId id="2147475448" r:id="rId9"/>
    <p:sldId id="2147481754" r:id="rId10"/>
    <p:sldId id="2147481833" r:id="rId11"/>
    <p:sldId id="2147481767" r:id="rId12"/>
    <p:sldId id="2147481800" r:id="rId13"/>
    <p:sldId id="2147481823" r:id="rId14"/>
    <p:sldId id="2147481838" r:id="rId15"/>
    <p:sldId id="2147481839" r:id="rId16"/>
    <p:sldId id="2147481811" r:id="rId17"/>
    <p:sldId id="2147481808" r:id="rId18"/>
    <p:sldId id="2147481837" r:id="rId19"/>
    <p:sldId id="2147481840" r:id="rId20"/>
    <p:sldId id="2147481843" r:id="rId21"/>
    <p:sldId id="2147481841" r:id="rId22"/>
    <p:sldId id="2147481842" r:id="rId23"/>
    <p:sldId id="2147481766" r:id="rId24"/>
    <p:sldId id="2147481835" r:id="rId25"/>
    <p:sldId id="2147481807" r:id="rId2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EBEA1"/>
    <a:srgbClr val="FFFFF6"/>
    <a:srgbClr val="18486A"/>
    <a:srgbClr val="754E8F"/>
    <a:srgbClr val="7E95A6"/>
    <a:srgbClr val="BCA3CD"/>
    <a:srgbClr val="BCA4CD"/>
    <a:srgbClr val="21BED6"/>
    <a:srgbClr val="9EC358"/>
    <a:srgbClr val="3970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A3EBB9-3D61-F64C-B275-893A4B0DD643}" v="397" dt="2025-11-12T16:25:57.5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70" autoAdjust="0"/>
    <p:restoredTop sz="96265" autoAdjust="0"/>
  </p:normalViewPr>
  <p:slideViewPr>
    <p:cSldViewPr snapToGrid="0">
      <p:cViewPr>
        <p:scale>
          <a:sx n="125" d="100"/>
          <a:sy n="125" d="100"/>
        </p:scale>
        <p:origin x="1240" y="4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30" d="100"/>
        <a:sy n="13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7F6DB7-5AEA-4DAF-93BC-AF0C32C1D14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20D2C9-FA36-48E2-8D23-7592681D1B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9729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20D2C9-FA36-48E2-8D23-7592681D1B3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1069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38C6FF-D9BF-F803-29C1-5666798E8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64BF456-768B-A744-8FE8-8126951DB0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A2A101F-3FBF-B16E-29D9-9405927E70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848BD73-BC4F-CCBD-4D93-8A3D93400E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20D2C9-FA36-48E2-8D23-7592681D1B3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42815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Blick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von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Innen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nach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außen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:</a:t>
            </a:r>
            <a:b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</a:br>
            <a:endParaRPr lang="en-GB" sz="1200" dirty="0">
              <a:solidFill>
                <a:srgbClr val="FFFFFF"/>
              </a:solidFill>
              <a:latin typeface="Yanone Kaffeesatz Regular" panose="02000000000000000000" pitchFamily="2" charset="77"/>
            </a:endParaRPr>
          </a:p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Einführung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von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z.B.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:</a:t>
            </a:r>
            <a:b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</a:br>
            <a:endParaRPr lang="en-GB" sz="1200" dirty="0">
              <a:solidFill>
                <a:srgbClr val="FFFFFF"/>
              </a:solidFill>
              <a:latin typeface="Yanone Kaffeesatz Regular" panose="02000000000000000000" pitchFamily="2" charset="77"/>
            </a:endParaRP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Cloud Computing</a:t>
            </a: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Big Data</a:t>
            </a: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IoT/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Industrie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4.0</a:t>
            </a: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As a service</a:t>
            </a:r>
          </a:p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</a:b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zur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Förderung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von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Effizienz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und Innovation</a:t>
            </a:r>
          </a:p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anone Kaffeesatz Regular" panose="02000000000000000000" pitchFamily="2" charset="77"/>
            </a:endParaRPr>
          </a:p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Blick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von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außen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nach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innen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:</a:t>
            </a:r>
            <a:b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</a:b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Umweltfreundliche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und </a:t>
            </a:r>
            <a:b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</a:b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sozial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verantwortliche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Geschäftsmodelle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z.B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 </a:t>
            </a: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durch</a:t>
            </a: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:</a:t>
            </a:r>
            <a:b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</a:br>
            <a:endParaRPr lang="en-GB" sz="1200" dirty="0">
              <a:solidFill>
                <a:srgbClr val="FFFFFF"/>
              </a:solidFill>
              <a:latin typeface="Yanone Kaffeesatz Regular" panose="02000000000000000000" pitchFamily="2" charset="77"/>
            </a:endParaRP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err="1">
                <a:solidFill>
                  <a:srgbClr val="FFFFFF"/>
                </a:solidFill>
                <a:latin typeface="Yanone Kaffeesatz Regular" panose="02000000000000000000" pitchFamily="2" charset="77"/>
              </a:rPr>
              <a:t>Vorhersagemodelle</a:t>
            </a:r>
            <a:endParaRPr lang="en-GB" sz="1200" dirty="0">
              <a:solidFill>
                <a:srgbClr val="FFFFFF"/>
              </a:solidFill>
              <a:latin typeface="Yanone Kaffeesatz Regular" panose="02000000000000000000" pitchFamily="2" charset="77"/>
            </a:endParaRP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FFFF"/>
                </a:solidFill>
                <a:latin typeface="Yanone Kaffeesatz Regular" panose="02000000000000000000" pitchFamily="2" charset="77"/>
              </a:rPr>
              <a:t>Green Digital Twin</a:t>
            </a: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Energiemanagement</a:t>
            </a: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anone Kaffeesatz Regular" panose="02000000000000000000" pitchFamily="2" charset="77"/>
            </a:endParaRPr>
          </a:p>
          <a:p>
            <a:pPr marL="342900" marR="0" lvl="0" indent="-34290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Digitale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Plattformen</a:t>
            </a:r>
            <a:r>
              <a:rPr kumimoji="0" lang="en-GB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 für </a:t>
            </a:r>
            <a:r>
              <a:rPr kumimoji="0" lang="en-GB" sz="12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anone Kaffeesatz Regular" panose="02000000000000000000" pitchFamily="2" charset="77"/>
              </a:rPr>
              <a:t>Kreislaufwirtschaft</a:t>
            </a: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anone Kaffeesatz Regular" panose="02000000000000000000" pitchFamily="2" charset="77"/>
            </a:endParaRPr>
          </a:p>
          <a:p>
            <a:pPr marR="0" lvl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anone Kaffeesatz Regular" panose="02000000000000000000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4B9F76-AB74-8B4B-AA41-F7ADD8EB00D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924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E6823-8833-D250-FD82-3A08506116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68F49FF-973B-04B8-4AF0-E90ACB6EA9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36B3651-FEE8-2225-7019-A7AD7A825F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3B9E3A-3858-9881-C963-50453C15CF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20D2C9-FA36-48E2-8D23-7592681D1B3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1890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49958-1DDB-8EA1-F385-AFF04B1F4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0BCC6E-2E12-145E-7F33-FE60254D1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F898144-1F19-3A88-7805-51FB8C877A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836E5-FAB2-B551-9425-6156BD99ED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20D2C9-FA36-48E2-8D23-7592681D1B39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207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AB97F5-D92D-54FE-5AE3-F21464D15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7C0C16-6998-0E66-2354-11557C3E32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A8A764-40A9-ED0B-3EB7-F436CE685A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D6AA8-16D6-8A31-2165-376068DC6D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F3E0F7A-EA63-40E1-97FB-D173EE3BA0CC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8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7121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712D0E8-0360-378D-FAA4-1837B8A9F80C}"/>
              </a:ext>
            </a:extLst>
          </p:cNvPr>
          <p:cNvSpPr/>
          <p:nvPr userDrawn="1"/>
        </p:nvSpPr>
        <p:spPr>
          <a:xfrm rot="8146405">
            <a:off x="-2269903" y="-1889485"/>
            <a:ext cx="11329630" cy="1086984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45EC31-3EE8-1124-DE4A-DF3A30F4979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927DAF8-1E0A-C56D-7B4B-23E15C5557AA}"/>
              </a:ext>
            </a:extLst>
          </p:cNvPr>
          <p:cNvSpPr/>
          <p:nvPr userDrawn="1"/>
        </p:nvSpPr>
        <p:spPr>
          <a:xfrm rot="8146405">
            <a:off x="-3031901" y="549000"/>
            <a:ext cx="5760000" cy="57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808525"/>
            <a:ext cx="6859705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0" y="3602038"/>
            <a:ext cx="539560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8766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6179E4-51A9-1DD0-4878-B22C0E7662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102B43-6564-BC5A-CBB1-8828DA072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B0F751-CEF4-8F83-4C15-EEA33C011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859201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866E0-6FD2-9713-7DD4-A4E967A7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41021-943C-44FD-F323-346605B9C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D69ECC-5DF5-3657-E802-465A83438A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3B05A-7711-52B2-B989-61D765F27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D3419A-D76B-9629-0FCB-0D44AEC9F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90962-24B0-C81D-1982-2ED1D1A59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6DB7C406-D89A-32CB-45D9-350592A5A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5154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22EC4-8B18-9317-8388-F59B0FC1D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D3FD9-EA8E-5FA5-A52C-F952194318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B3AD07-9E26-7FF1-C390-41D0513E5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F154AB-8B25-A999-C7DF-53ECC42270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5BAE4C-0CF9-AB19-64D3-BC779ED3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4AB99-D2DB-27AF-64E4-2ACDA16A4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F5A446E-5FC5-FD31-6EB5-5900BEF98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861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253D6-ECB4-13B1-6BD8-BA8F39E03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A68F9D-A80A-9F41-53C4-204CD22BDC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C8690-E955-38CC-1057-7499222E31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4049-E6F3-6321-6157-78C1D3083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16A58-C62A-FB72-93C8-EE2BBBC76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8983AC67-8B60-4162-2926-0D8B51647D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0507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3BE2CD-4C8A-60EC-6F4A-FBEC3D7D3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C998D-3577-E805-FF71-DA22FC06FD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D90E67-1302-ECF6-B51D-4A38ADB576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61CA-7F0D-9B52-A86A-A4D128596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B2565-FD37-9951-C344-0F2F6BE67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9BCE066B-0A3A-33C1-3C1A-E1F01009E1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1957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reihandform 3">
            <a:extLst>
              <a:ext uri="{FF2B5EF4-FFF2-40B4-BE49-F238E27FC236}">
                <a16:creationId xmlns:a16="http://schemas.microsoft.com/office/drawing/2014/main" id="{497AD0CF-4573-0CAE-903C-6D601F4C6943}"/>
              </a:ext>
            </a:extLst>
          </p:cNvPr>
          <p:cNvSpPr>
            <a:spLocks noChangeAspect="1"/>
          </p:cNvSpPr>
          <p:nvPr userDrawn="1"/>
        </p:nvSpPr>
        <p:spPr>
          <a:xfrm rot="8146405">
            <a:off x="-377222" y="52945"/>
            <a:ext cx="820199" cy="828000"/>
          </a:xfrm>
          <a:custGeom>
            <a:avLst/>
            <a:gdLst>
              <a:gd name="connsiteX0" fmla="*/ 912006 w 5695445"/>
              <a:gd name="connsiteY0" fmla="*/ 5749615 h 5749615"/>
              <a:gd name="connsiteX1" fmla="*/ 3289 w 5695445"/>
              <a:gd name="connsiteY1" fmla="*/ 4865105 h 5749615"/>
              <a:gd name="connsiteX2" fmla="*/ 0 w 5695445"/>
              <a:gd name="connsiteY2" fmla="*/ 4799981 h 5749615"/>
              <a:gd name="connsiteX3" fmla="*/ 0 w 5695445"/>
              <a:gd name="connsiteY3" fmla="*/ 960019 h 5749615"/>
              <a:gd name="connsiteX4" fmla="*/ 960019 w 5695445"/>
              <a:gd name="connsiteY4" fmla="*/ 0 h 5749615"/>
              <a:gd name="connsiteX5" fmla="*/ 4799981 w 5695445"/>
              <a:gd name="connsiteY5" fmla="*/ 0 h 5749615"/>
              <a:gd name="connsiteX6" fmla="*/ 4841047 w 5695445"/>
              <a:gd name="connsiteY6" fmla="*/ 3623 h 5749615"/>
              <a:gd name="connsiteX7" fmla="*/ 5695445 w 5695445"/>
              <a:gd name="connsiteY7" fmla="*/ 835261 h 574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95445" h="5749615">
                <a:moveTo>
                  <a:pt x="912006" y="5749615"/>
                </a:moveTo>
                <a:lnTo>
                  <a:pt x="3289" y="4865105"/>
                </a:lnTo>
                <a:lnTo>
                  <a:pt x="0" y="4799981"/>
                </a:ln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lnTo>
                  <a:pt x="4841047" y="3623"/>
                </a:lnTo>
                <a:lnTo>
                  <a:pt x="5695445" y="8352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b="0" i="0">
              <a:solidFill>
                <a:schemeClr val="bg1"/>
              </a:solidFill>
              <a:latin typeface="Yanone Kaffeesatz Regular" panose="02000000000000000000" pitchFamily="2" charset="77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F4FBBA5-9B41-1D68-67E8-79FA7D96DF21}"/>
              </a:ext>
            </a:extLst>
          </p:cNvPr>
          <p:cNvSpPr txBox="1">
            <a:spLocks/>
          </p:cNvSpPr>
          <p:nvPr userDrawn="1"/>
        </p:nvSpPr>
        <p:spPr>
          <a:xfrm>
            <a:off x="762000" y="188833"/>
            <a:ext cx="10515600" cy="11654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endParaRPr lang="de-DE" sz="24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Inhaltsplatzhalter 14">
            <a:extLst>
              <a:ext uri="{FF2B5EF4-FFF2-40B4-BE49-F238E27FC236}">
                <a16:creationId xmlns:a16="http://schemas.microsoft.com/office/drawing/2014/main" id="{53F0B191-C97A-C650-2EB3-B52629C264F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1838" y="1518834"/>
            <a:ext cx="10621962" cy="4658129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89C46C33-63F5-6EA9-DA75-FAF5BAE3A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5783" y="6238275"/>
            <a:ext cx="1236034" cy="44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785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46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8260" y="140276"/>
            <a:ext cx="10515600" cy="68453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es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Überschrif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250" y="149584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reihandform 3">
            <a:extLst>
              <a:ext uri="{FF2B5EF4-FFF2-40B4-BE49-F238E27FC236}">
                <a16:creationId xmlns:a16="http://schemas.microsoft.com/office/drawing/2014/main" id="{497AD0CF-4573-0CAE-903C-6D601F4C6943}"/>
              </a:ext>
            </a:extLst>
          </p:cNvPr>
          <p:cNvSpPr>
            <a:spLocks noChangeAspect="1"/>
          </p:cNvSpPr>
          <p:nvPr userDrawn="1"/>
        </p:nvSpPr>
        <p:spPr>
          <a:xfrm rot="8146405">
            <a:off x="-377222" y="52945"/>
            <a:ext cx="820199" cy="828000"/>
          </a:xfrm>
          <a:custGeom>
            <a:avLst/>
            <a:gdLst>
              <a:gd name="connsiteX0" fmla="*/ 912006 w 5695445"/>
              <a:gd name="connsiteY0" fmla="*/ 5749615 h 5749615"/>
              <a:gd name="connsiteX1" fmla="*/ 3289 w 5695445"/>
              <a:gd name="connsiteY1" fmla="*/ 4865105 h 5749615"/>
              <a:gd name="connsiteX2" fmla="*/ 0 w 5695445"/>
              <a:gd name="connsiteY2" fmla="*/ 4799981 h 5749615"/>
              <a:gd name="connsiteX3" fmla="*/ 0 w 5695445"/>
              <a:gd name="connsiteY3" fmla="*/ 960019 h 5749615"/>
              <a:gd name="connsiteX4" fmla="*/ 960019 w 5695445"/>
              <a:gd name="connsiteY4" fmla="*/ 0 h 5749615"/>
              <a:gd name="connsiteX5" fmla="*/ 4799981 w 5695445"/>
              <a:gd name="connsiteY5" fmla="*/ 0 h 5749615"/>
              <a:gd name="connsiteX6" fmla="*/ 4841047 w 5695445"/>
              <a:gd name="connsiteY6" fmla="*/ 3623 h 5749615"/>
              <a:gd name="connsiteX7" fmla="*/ 5695445 w 5695445"/>
              <a:gd name="connsiteY7" fmla="*/ 835261 h 574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95445" h="5749615">
                <a:moveTo>
                  <a:pt x="912006" y="5749615"/>
                </a:moveTo>
                <a:lnTo>
                  <a:pt x="3289" y="4865105"/>
                </a:lnTo>
                <a:lnTo>
                  <a:pt x="0" y="4799981"/>
                </a:ln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lnTo>
                  <a:pt x="4841047" y="3623"/>
                </a:lnTo>
                <a:lnTo>
                  <a:pt x="5695445" y="8352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b="0" i="0">
              <a:solidFill>
                <a:schemeClr val="bg1"/>
              </a:solidFill>
              <a:latin typeface="Yanone Kaffeesatz Regular" panose="02000000000000000000" pitchFamily="2" charset="77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F4FBBA5-9B41-1D68-67E8-79FA7D96DF21}"/>
              </a:ext>
            </a:extLst>
          </p:cNvPr>
          <p:cNvSpPr txBox="1">
            <a:spLocks/>
          </p:cNvSpPr>
          <p:nvPr userDrawn="1"/>
        </p:nvSpPr>
        <p:spPr>
          <a:xfrm>
            <a:off x="762000" y="188833"/>
            <a:ext cx="10515600" cy="11654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endParaRPr lang="de-DE" sz="24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89C46C33-63F5-6EA9-DA75-FAF5BAE3A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5783" y="6238275"/>
            <a:ext cx="1236034" cy="4419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EA0A18E-39AD-49D6-D9A6-E0B435C46311}"/>
              </a:ext>
            </a:extLst>
          </p:cNvPr>
          <p:cNvSpPr txBox="1">
            <a:spLocks/>
          </p:cNvSpPr>
          <p:nvPr userDrawn="1"/>
        </p:nvSpPr>
        <p:spPr>
          <a:xfrm>
            <a:off x="744026" y="582001"/>
            <a:ext cx="10515600" cy="684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/>
              <a:t>Dies </a:t>
            </a:r>
            <a:r>
              <a:rPr lang="en-US" sz="2400" b="0" err="1"/>
              <a:t>ist</a:t>
            </a:r>
            <a:r>
              <a:rPr lang="en-US" sz="2400" b="0"/>
              <a:t> </a:t>
            </a:r>
            <a:r>
              <a:rPr lang="en-US" sz="2400" b="0" err="1"/>
              <a:t>eine</a:t>
            </a:r>
            <a:r>
              <a:rPr lang="en-US" sz="2400" b="0"/>
              <a:t> </a:t>
            </a:r>
            <a:r>
              <a:rPr lang="en-US" sz="2400" b="0" err="1"/>
              <a:t>Unterzeile</a:t>
            </a:r>
            <a:endParaRPr lang="en-US" sz="2400" b="0"/>
          </a:p>
        </p:txBody>
      </p:sp>
    </p:spTree>
    <p:extLst>
      <p:ext uri="{BB962C8B-B14F-4D97-AF65-F5344CB8AC3E}">
        <p14:creationId xmlns:p14="http://schemas.microsoft.com/office/powerpoint/2010/main" val="3425952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46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866E0-6FD2-9713-7DD4-A4E967A7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41021-943C-44FD-F323-346605B9C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D69ECC-5DF5-3657-E802-465A83438A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3B05A-7711-52B2-B989-61D765F27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D3419A-D76B-9629-0FCB-0D44AEC9F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90962-24B0-C81D-1982-2ED1D1A59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80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22EC4-8B18-9317-8388-F59B0FC1D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D3FD9-EA8E-5FA5-A52C-F952194318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B3AD07-9E26-7FF1-C390-41D0513E5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F154AB-8B25-A999-C7DF-53ECC42270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5BAE4C-0CF9-AB19-64D3-BC779ED3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4AB99-D2DB-27AF-64E4-2ACDA16A4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5330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253D6-ECB4-13B1-6BD8-BA8F39E03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A68F9D-A80A-9F41-53C4-204CD22BDC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C8690-E955-38CC-1057-7499222E31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4049-E6F3-6321-6157-78C1D3083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16A58-C62A-FB72-93C8-EE2BBBC76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705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3BE2CD-4C8A-60EC-6F4A-FBEC3D7D3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C998D-3577-E805-FF71-DA22FC06FD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D90E67-1302-ECF6-B51D-4A38ADB576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61CA-7F0D-9B52-A86A-A4D128596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B2565-FD37-9951-C344-0F2F6BE67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3434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Allianz Neo" panose="020B05040202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06451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583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421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917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543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2" y="1122363"/>
            <a:ext cx="5757237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0762" y="3602038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865E2C6-47C4-5F80-D478-960CD6651B2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702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096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928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219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/Content side by sid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7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7DABB1-99BA-4A09-89C5-291F265811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6168528"/>
            <a:ext cx="996696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 defTabSz="914205">
              <a:lnSpc>
                <a:spcPct val="90000"/>
              </a:lnSpc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04749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8252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233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63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54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927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354CCA-A9B9-8B7E-CC38-04B1CC54125D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CCF1D2-A74F-4D7C-ABAD-03BC299E23C6}" type="datetimeFigureOut">
              <a:rPr lang="de-DE" smtClean="0"/>
              <a:pPr/>
              <a:t>12.11.25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1F25C7-C147-FAB3-ECDC-00146B6B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299600" y="284939"/>
            <a:ext cx="1435164" cy="113746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F41D24A-6EFE-6F77-CDE5-43A710DD8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4379" y="-19455"/>
            <a:ext cx="9100440" cy="7993256"/>
          </a:xfrm>
          <a:custGeom>
            <a:avLst/>
            <a:gdLst>
              <a:gd name="connsiteX0" fmla="*/ 3383871 w 9100440"/>
              <a:gd name="connsiteY0" fmla="*/ 0 h 7993256"/>
              <a:gd name="connsiteX1" fmla="*/ 6469085 w 9100440"/>
              <a:gd name="connsiteY1" fmla="*/ 0 h 7993256"/>
              <a:gd name="connsiteX2" fmla="*/ 8789857 w 9100440"/>
              <a:gd name="connsiteY2" fmla="*/ 2384288 h 7993256"/>
              <a:gd name="connsiteX3" fmla="*/ 8768937 w 9100440"/>
              <a:gd name="connsiteY3" fmla="*/ 3933939 h 7993256"/>
              <a:gd name="connsiteX4" fmla="*/ 4917608 w 9100440"/>
              <a:gd name="connsiteY4" fmla="*/ 7682672 h 7993256"/>
              <a:gd name="connsiteX5" fmla="*/ 3367956 w 9100440"/>
              <a:gd name="connsiteY5" fmla="*/ 7661753 h 7993256"/>
              <a:gd name="connsiteX6" fmla="*/ 310585 w 9100440"/>
              <a:gd name="connsiteY6" fmla="*/ 4520706 h 7993256"/>
              <a:gd name="connsiteX7" fmla="*/ 331504 w 9100440"/>
              <a:gd name="connsiteY7" fmla="*/ 2971054 h 7993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00440" h="7993256">
                <a:moveTo>
                  <a:pt x="3383871" y="0"/>
                </a:moveTo>
                <a:lnTo>
                  <a:pt x="6469085" y="0"/>
                </a:lnTo>
                <a:lnTo>
                  <a:pt x="8789857" y="2384288"/>
                </a:lnTo>
                <a:cubicBezTo>
                  <a:pt x="9212004" y="2817989"/>
                  <a:pt x="9202638" y="3511792"/>
                  <a:pt x="8768937" y="3933939"/>
                </a:cubicBezTo>
                <a:lnTo>
                  <a:pt x="4917608" y="7682672"/>
                </a:lnTo>
                <a:cubicBezTo>
                  <a:pt x="4483906" y="8104820"/>
                  <a:pt x="3790104" y="8095454"/>
                  <a:pt x="3367956" y="7661753"/>
                </a:cubicBezTo>
                <a:lnTo>
                  <a:pt x="310585" y="4520706"/>
                </a:lnTo>
                <a:cubicBezTo>
                  <a:pt x="-111563" y="4087004"/>
                  <a:pt x="-102197" y="3393202"/>
                  <a:pt x="331504" y="2971054"/>
                </a:cubicBezTo>
                <a:close/>
              </a:path>
            </a:pathLst>
          </a:cu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noFill/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044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8962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996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/Content side by sid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70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7DABB1-99BA-4A09-89C5-291F265811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6168528"/>
            <a:ext cx="996696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 defTabSz="914205">
              <a:lnSpc>
                <a:spcPct val="90000"/>
              </a:lnSpc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09107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15025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765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20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174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46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903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354CCA-A9B9-8B7E-CC38-04B1CC54125D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CCF1D2-A74F-4D7C-ABAD-03BC299E23C6}" type="datetimeFigureOut">
              <a:rPr lang="de-DE" smtClean="0"/>
              <a:pPr/>
              <a:t>12.11.25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1F25C7-C147-FAB3-ECDC-00146B6B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299600" y="284939"/>
            <a:ext cx="1435164" cy="1137462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solidFill>
            <a:schemeClr val="bg2"/>
          </a:solidFill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0557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882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/Content side by sid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4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76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bold typo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1008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tyl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row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10908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96816-C8D8-4D33-ADC6-A0DDE3C6E31E}"/>
              </a:ext>
            </a:extLst>
          </p:cNvPr>
          <p:cNvSpPr>
            <a:spLocks noGrp="1"/>
          </p:cNvSpPr>
          <p:nvPr>
            <p:ph type="title"/>
          </p:nvPr>
        </p:nvSpPr>
        <p:spPr bwMode="invGray">
          <a:xfrm>
            <a:off x="316799" y="471915"/>
            <a:ext cx="11484000" cy="343237"/>
          </a:xfrm>
          <a:prstGeom prst="rect">
            <a:avLst/>
          </a:prstGeom>
        </p:spPr>
        <p:txBody>
          <a:bodyPr tIns="0" bIns="0" anchor="t">
            <a:spAutoFit/>
          </a:bodyPr>
          <a:lstStyle>
            <a:lvl1pPr>
              <a:lnSpc>
                <a:spcPct val="100000"/>
              </a:lnSpc>
              <a:defRPr sz="2200">
                <a:solidFill>
                  <a:srgbClr val="000000"/>
                </a:solidFill>
                <a:latin typeface="Montserrat Bold" panose="000008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E3C4D-A53B-49B6-90E2-150065B875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invGray">
          <a:xfrm>
            <a:off x="316799" y="830931"/>
            <a:ext cx="11484000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>
                <a:solidFill>
                  <a:srgbClr val="000000"/>
                </a:solidFill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AE1A89-9C65-45A4-8923-6131F16037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99" y="1316038"/>
            <a:ext cx="11484000" cy="46370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l-NL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43323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0442401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9929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782714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19877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C5E234-CAE2-FE52-F229-651DBB256133}"/>
              </a:ext>
            </a:extLst>
          </p:cNvPr>
          <p:cNvSpPr/>
          <p:nvPr userDrawn="1"/>
        </p:nvSpPr>
        <p:spPr>
          <a:xfrm>
            <a:off x="9342783" y="136525"/>
            <a:ext cx="2743200" cy="14802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94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7544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5762567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936940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/Content side by sid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298297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FF25BD-BB7E-4BA1-98E8-46EBC01F61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9420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4770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7DABB1-99BA-4A09-89C5-291F265811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6168528"/>
            <a:ext cx="9966960" cy="34747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800" b="0" cap="none" spc="0" baseline="0" dirty="0" smtClean="0"/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 defTabSz="914205">
              <a:lnSpc>
                <a:spcPct val="90000"/>
              </a:lnSpc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8456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712D0E8-0360-378D-FAA4-1837B8A9F80C}"/>
              </a:ext>
            </a:extLst>
          </p:cNvPr>
          <p:cNvSpPr/>
          <p:nvPr userDrawn="1"/>
        </p:nvSpPr>
        <p:spPr>
          <a:xfrm rot="8146405">
            <a:off x="-2269902" y="-1889485"/>
            <a:ext cx="11329630" cy="1086984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45EC31-3EE8-1124-DE4A-DF3A30F4979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927DAF8-1E0A-C56D-7B4B-23E15C5557AA}"/>
              </a:ext>
            </a:extLst>
          </p:cNvPr>
          <p:cNvSpPr/>
          <p:nvPr userDrawn="1"/>
        </p:nvSpPr>
        <p:spPr>
          <a:xfrm rot="8146405">
            <a:off x="-3031901" y="549000"/>
            <a:ext cx="5760000" cy="57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4" y="808525"/>
            <a:ext cx="6859705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1" y="3602038"/>
            <a:ext cx="539560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68830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1122363"/>
            <a:ext cx="5757237" cy="2387600"/>
          </a:xfrm>
        </p:spPr>
        <p:txBody>
          <a:bodyPr anchor="b"/>
          <a:lstStyle>
            <a:lvl1pPr algn="ctr">
              <a:defRPr sz="6000" b="0" i="0">
                <a:latin typeface="Yanone Kaffeesatz Regular" panose="02000000000000000000" pitchFamily="2" charset="77"/>
              </a:defRPr>
            </a:lvl1pPr>
          </a:lstStyle>
          <a:p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0762" y="3602038"/>
            <a:ext cx="5757238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Yanone Kaffeesatz Regular" panose="02000000000000000000" pitchFamily="2" charset="77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0224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 dirty="0"/>
              <a:t>Rainer Karch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/>
              <a:t>Klimaaktivist im Anzu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18577" y="6356350"/>
            <a:ext cx="2590799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 dirty="0"/>
              <a:t>2024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865E2C6-47C4-5F80-D478-960CD6651B26}"/>
              </a:ext>
            </a:extLst>
          </p:cNvPr>
          <p:cNvSpPr/>
          <p:nvPr userDrawn="1"/>
        </p:nvSpPr>
        <p:spPr>
          <a:xfrm rot="8146405">
            <a:off x="-2288689" y="549000"/>
            <a:ext cx="5760000" cy="576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Yanone Kaffeesatz Regular" panose="02000000000000000000" pitchFamily="2" charset="77"/>
            </a:endParaRPr>
          </a:p>
        </p:txBody>
      </p:sp>
      <p:pic>
        <p:nvPicPr>
          <p:cNvPr id="8" name="Grafik 7" descr="Ein Bild, das Muster, Grafiken, Pixel, Design enthält.&#10;&#10;Automatisch generierte Beschreibung">
            <a:extLst>
              <a:ext uri="{FF2B5EF4-FFF2-40B4-BE49-F238E27FC236}">
                <a16:creationId xmlns:a16="http://schemas.microsoft.com/office/drawing/2014/main" id="{2B0A149E-8D99-0C22-553A-80BC343346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672" y="5726684"/>
            <a:ext cx="994791" cy="99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393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solidFill>
            <a:srgbClr val="FFFFF6"/>
          </a:solidFill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24E052-B46B-F160-5C81-AD3B295EDE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9600" y="136525"/>
            <a:ext cx="3118104" cy="111407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F41D24A-6EFE-6F77-CDE5-43A710DD828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6832" t="-45887" r="-75983" b="-56928"/>
          <a:stretch>
            <a:fillRect/>
          </a:stretch>
        </p:blipFill>
        <p:spPr>
          <a:xfrm>
            <a:off x="6517886" y="-19455"/>
            <a:ext cx="9073425" cy="7993256"/>
          </a:xfrm>
          <a:custGeom>
            <a:avLst/>
            <a:gdLst>
              <a:gd name="connsiteX0" fmla="*/ 3383871 w 9100440"/>
              <a:gd name="connsiteY0" fmla="*/ 0 h 7993256"/>
              <a:gd name="connsiteX1" fmla="*/ 6469085 w 9100440"/>
              <a:gd name="connsiteY1" fmla="*/ 0 h 7993256"/>
              <a:gd name="connsiteX2" fmla="*/ 8789857 w 9100440"/>
              <a:gd name="connsiteY2" fmla="*/ 2384288 h 7993256"/>
              <a:gd name="connsiteX3" fmla="*/ 8768937 w 9100440"/>
              <a:gd name="connsiteY3" fmla="*/ 3933939 h 7993256"/>
              <a:gd name="connsiteX4" fmla="*/ 4917608 w 9100440"/>
              <a:gd name="connsiteY4" fmla="*/ 7682672 h 7993256"/>
              <a:gd name="connsiteX5" fmla="*/ 3367956 w 9100440"/>
              <a:gd name="connsiteY5" fmla="*/ 7661753 h 7993256"/>
              <a:gd name="connsiteX6" fmla="*/ 310585 w 9100440"/>
              <a:gd name="connsiteY6" fmla="*/ 4520706 h 7993256"/>
              <a:gd name="connsiteX7" fmla="*/ 331504 w 9100440"/>
              <a:gd name="connsiteY7" fmla="*/ 2971054 h 7993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00440" h="7993256">
                <a:moveTo>
                  <a:pt x="3383871" y="0"/>
                </a:moveTo>
                <a:lnTo>
                  <a:pt x="6469085" y="0"/>
                </a:lnTo>
                <a:lnTo>
                  <a:pt x="8789857" y="2384288"/>
                </a:lnTo>
                <a:cubicBezTo>
                  <a:pt x="9212004" y="2817989"/>
                  <a:pt x="9202638" y="3511792"/>
                  <a:pt x="8768937" y="3933939"/>
                </a:cubicBezTo>
                <a:lnTo>
                  <a:pt x="4917608" y="7682672"/>
                </a:lnTo>
                <a:cubicBezTo>
                  <a:pt x="4483906" y="8104820"/>
                  <a:pt x="3790104" y="8095454"/>
                  <a:pt x="3367956" y="7661753"/>
                </a:cubicBezTo>
                <a:lnTo>
                  <a:pt x="310585" y="4520706"/>
                </a:lnTo>
                <a:cubicBezTo>
                  <a:pt x="-111563" y="4087004"/>
                  <a:pt x="-102197" y="3393202"/>
                  <a:pt x="331504" y="297105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81363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E8CD7-6111-CA21-EA1B-E97DDD403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773B0-116E-6C4E-1B14-EBC7008698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6DA9A-1618-CF61-9AD8-71F20729D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0502C-10E2-E5DB-7D32-F5EC6FB5B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CD57-218D-F4F5-6D4A-BB59F3AF2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0429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_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896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2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8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solidFill>
            <a:schemeClr val="bg2"/>
          </a:solidFill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5393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2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8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C5E234-CAE2-FE52-F229-651DBB256133}"/>
              </a:ext>
            </a:extLst>
          </p:cNvPr>
          <p:cNvSpPr/>
          <p:nvPr userDrawn="1"/>
        </p:nvSpPr>
        <p:spPr>
          <a:xfrm>
            <a:off x="9342783" y="136525"/>
            <a:ext cx="2743200" cy="14802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938143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E8CD7-6111-CA21-EA1B-E97DDD403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773B0-116E-6C4E-1B14-EBC7008698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6DA9A-1618-CF61-9AD8-71F20729D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0502C-10E2-E5DB-7D32-F5EC6FB5B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CD57-218D-F4F5-6D4A-BB59F3AF2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534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E8BF0-3565-BC0F-6F6B-D8DA7F295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E4321-D058-6E8A-C64E-1B06E758F5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9B00B-60D1-E849-7AEA-B8BB8431FF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E38E46-74A0-5B18-1617-1A0830D5B1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14B64D-1553-A6E4-5CD1-50130B6A3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84ACA3-0BCB-4A6F-C329-FAD01D1AD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59480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E4FA4-AD5B-A747-8D93-B63300FB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9888B-0523-71AB-6E54-109E181FD2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CDB89-EB6C-D239-FEEC-72CF33B86C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8888AB-5209-FB7A-52E6-6CD89F3163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E5E2F-565F-DF2C-57D1-755565521E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4A796-D1C9-245E-BD9D-AC5B672A79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67328E-29ED-B193-22F0-BBEDC1234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D39399-9A17-5B69-D771-98564D94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30779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A00CC-2A4B-52FB-1E6C-BFE527BA7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68C855-AF5B-CEEA-2B8D-81FBD0DD98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3827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6179E4-51A9-1DD0-4878-B22C0E7662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102B43-6564-BC5A-CBB1-8828DA072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B0F751-CEF4-8F83-4C15-EEA33C011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87025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866E0-6FD2-9713-7DD4-A4E967A7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41021-943C-44FD-F323-346605B9C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D69ECC-5DF5-3657-E802-465A83438A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3B05A-7711-52B2-B989-61D765F27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D3419A-D76B-9629-0FCB-0D44AEC9F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90962-24B0-C81D-1982-2ED1D1A59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34879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22EC4-8B18-9317-8388-F59B0FC1D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D3FD9-EA8E-5FA5-A52C-F952194318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B3AD07-9E26-7FF1-C390-41D0513E5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F154AB-8B25-A999-C7DF-53ECC42270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5BAE4C-0CF9-AB19-64D3-BC779ED3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4AB99-D2DB-27AF-64E4-2ACDA16A4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7431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E8BF0-3565-BC0F-6F6B-D8DA7F295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E4321-D058-6E8A-C64E-1B06E758F5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9B00B-60D1-E849-7AEA-B8BB8431FF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E38E46-74A0-5B18-1617-1A0830D5B1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14B64D-1553-A6E4-5CD1-50130B6A3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84ACA3-0BCB-4A6F-C329-FAD01D1AD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330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253D6-ECB4-13B1-6BD8-BA8F39E03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A68F9D-A80A-9F41-53C4-204CD22BDC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C8690-E955-38CC-1057-7499222E31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4049-E6F3-6321-6157-78C1D3083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16A58-C62A-FB72-93C8-EE2BBBC76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55443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3BE2CD-4C8A-60EC-6F4A-FBEC3D7D3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C998D-3577-E805-FF71-DA22FC06FD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D90E67-1302-ECF6-B51D-4A38ADB576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61CA-7F0D-9B52-A86A-A4D128596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B2565-FD37-9951-C344-0F2F6BE67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5216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712D0E8-0360-378D-FAA4-1837B8A9F80C}"/>
              </a:ext>
            </a:extLst>
          </p:cNvPr>
          <p:cNvSpPr/>
          <p:nvPr userDrawn="1"/>
        </p:nvSpPr>
        <p:spPr>
          <a:xfrm rot="8146405">
            <a:off x="-2269903" y="-1889485"/>
            <a:ext cx="11329630" cy="1086984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45EC31-3EE8-1124-DE4A-DF3A30F4979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927DAF8-1E0A-C56D-7B4B-23E15C5557AA}"/>
              </a:ext>
            </a:extLst>
          </p:cNvPr>
          <p:cNvSpPr/>
          <p:nvPr userDrawn="1"/>
        </p:nvSpPr>
        <p:spPr>
          <a:xfrm rot="8146405">
            <a:off x="-3031901" y="549000"/>
            <a:ext cx="5760000" cy="57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808525"/>
            <a:ext cx="6859705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0" y="3602038"/>
            <a:ext cx="539560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53353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2" y="1122363"/>
            <a:ext cx="5757237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0762" y="3602038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865E2C6-47C4-5F80-D478-960CD6651B2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A6AC4940-782D-40BE-6E28-EBCAE639C4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69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354CCA-A9B9-8B7E-CC38-04B1CC54125D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CCF1D2-A74F-4D7C-ABAD-03BC299E23C6}" type="datetimeFigureOut">
              <a:rPr lang="de-DE" smtClean="0"/>
              <a:pPr/>
              <a:t>12.11.25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1F25C7-C147-FAB3-ECDC-00146B6B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299600" y="284939"/>
            <a:ext cx="1435164" cy="113746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F41D24A-6EFE-6F77-CDE5-43A710DD82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4379" y="-19455"/>
            <a:ext cx="9100440" cy="7993256"/>
          </a:xfrm>
          <a:custGeom>
            <a:avLst/>
            <a:gdLst>
              <a:gd name="connsiteX0" fmla="*/ 3383871 w 9100440"/>
              <a:gd name="connsiteY0" fmla="*/ 0 h 7993256"/>
              <a:gd name="connsiteX1" fmla="*/ 6469085 w 9100440"/>
              <a:gd name="connsiteY1" fmla="*/ 0 h 7993256"/>
              <a:gd name="connsiteX2" fmla="*/ 8789857 w 9100440"/>
              <a:gd name="connsiteY2" fmla="*/ 2384288 h 7993256"/>
              <a:gd name="connsiteX3" fmla="*/ 8768937 w 9100440"/>
              <a:gd name="connsiteY3" fmla="*/ 3933939 h 7993256"/>
              <a:gd name="connsiteX4" fmla="*/ 4917608 w 9100440"/>
              <a:gd name="connsiteY4" fmla="*/ 7682672 h 7993256"/>
              <a:gd name="connsiteX5" fmla="*/ 3367956 w 9100440"/>
              <a:gd name="connsiteY5" fmla="*/ 7661753 h 7993256"/>
              <a:gd name="connsiteX6" fmla="*/ 310585 w 9100440"/>
              <a:gd name="connsiteY6" fmla="*/ 4520706 h 7993256"/>
              <a:gd name="connsiteX7" fmla="*/ 331504 w 9100440"/>
              <a:gd name="connsiteY7" fmla="*/ 2971054 h 7993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00440" h="7993256">
                <a:moveTo>
                  <a:pt x="3383871" y="0"/>
                </a:moveTo>
                <a:lnTo>
                  <a:pt x="6469085" y="0"/>
                </a:lnTo>
                <a:lnTo>
                  <a:pt x="8789857" y="2384288"/>
                </a:lnTo>
                <a:cubicBezTo>
                  <a:pt x="9212004" y="2817989"/>
                  <a:pt x="9202638" y="3511792"/>
                  <a:pt x="8768937" y="3933939"/>
                </a:cubicBezTo>
                <a:lnTo>
                  <a:pt x="4917608" y="7682672"/>
                </a:lnTo>
                <a:cubicBezTo>
                  <a:pt x="4483906" y="8104820"/>
                  <a:pt x="3790104" y="8095454"/>
                  <a:pt x="3367956" y="7661753"/>
                </a:cubicBezTo>
                <a:lnTo>
                  <a:pt x="310585" y="4520706"/>
                </a:lnTo>
                <a:cubicBezTo>
                  <a:pt x="-111563" y="4087004"/>
                  <a:pt x="-102197" y="3393202"/>
                  <a:pt x="331504" y="2971054"/>
                </a:cubicBezTo>
                <a:close/>
              </a:path>
            </a:pathLst>
          </a:cu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noFill/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321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354CCA-A9B9-8B7E-CC38-04B1CC54125D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CCF1D2-A74F-4D7C-ABAD-03BC299E23C6}" type="datetimeFigureOut">
              <a:rPr lang="de-DE" smtClean="0"/>
              <a:pPr/>
              <a:t>12.11.25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1F25C7-C147-FAB3-ECDC-00146B6B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299600" y="284939"/>
            <a:ext cx="1435164" cy="1137462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solidFill>
            <a:schemeClr val="bg2"/>
          </a:solidFill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478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C5E234-CAE2-FE52-F229-651DBB256133}"/>
              </a:ext>
            </a:extLst>
          </p:cNvPr>
          <p:cNvSpPr/>
          <p:nvPr userDrawn="1"/>
        </p:nvSpPr>
        <p:spPr>
          <a:xfrm>
            <a:off x="9342783" y="136525"/>
            <a:ext cx="2743200" cy="14802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4625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E8CD7-6111-CA21-EA1B-E97DDD403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773B0-116E-6C4E-1B14-EBC7008698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6DA9A-1618-CF61-9AD8-71F20729D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0502C-10E2-E5DB-7D32-F5EC6FB5B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CD57-218D-F4F5-6D4A-BB59F3AF2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537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E8BF0-3565-BC0F-6F6B-D8DA7F295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E4321-D058-6E8A-C64E-1B06E758F5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9B00B-60D1-E849-7AEA-B8BB8431FF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E38E46-74A0-5B18-1617-1A0830D5B1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14B64D-1553-A6E4-5CD1-50130B6A3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84ACA3-0BCB-4A6F-C329-FAD01D1AD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9606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E4FA4-AD5B-A747-8D93-B63300FB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9888B-0523-71AB-6E54-109E181FD2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CDB89-EB6C-D239-FEEC-72CF33B86C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8888AB-5209-FB7A-52E6-6CD89F3163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E5E2F-565F-DF2C-57D1-755565521E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4A796-D1C9-245E-BD9D-AC5B672A79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67328E-29ED-B193-22F0-BBEDC1234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D39399-9A17-5B69-D771-98564D94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8848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E4FA4-AD5B-A747-8D93-B63300FB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9888B-0523-71AB-6E54-109E181FD2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CDB89-EB6C-D239-FEEC-72CF33B86C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8888AB-5209-FB7A-52E6-6CD89F3163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E5E2F-565F-DF2C-57D1-755565521E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4A796-D1C9-245E-BD9D-AC5B672A79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67328E-29ED-B193-22F0-BBEDC1234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D39399-9A17-5B69-D771-98564D94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51717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A00CC-2A4B-52FB-1E6C-BFE527BA7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68C855-AF5B-CEEA-2B8D-81FBD0DD98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30ED6D-6B05-4284-B03B-DFC87B6ACF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1417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6179E4-51A9-1DD0-4878-B22C0E7662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102B43-6564-BC5A-CBB1-8828DA072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B0F751-CEF4-8F83-4C15-EEA33C011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9725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866E0-6FD2-9713-7DD4-A4E967A7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41021-943C-44FD-F323-346605B9C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D69ECC-5DF5-3657-E802-465A83438A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3B05A-7711-52B2-B989-61D765F27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D3419A-D76B-9629-0FCB-0D44AEC9F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90962-24B0-C81D-1982-2ED1D1A59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6832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22EC4-8B18-9317-8388-F59B0FC1D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D3FD9-EA8E-5FA5-A52C-F952194318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B3AD07-9E26-7FF1-C390-41D0513E5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F154AB-8B25-A999-C7DF-53ECC42270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5BAE4C-0CF9-AB19-64D3-BC779ED35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4AB99-D2DB-27AF-64E4-2ACDA16A4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5326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253D6-ECB4-13B1-6BD8-BA8F39E03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A68F9D-A80A-9F41-53C4-204CD22BDC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C8690-E955-38CC-1057-7499222E31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4049-E6F3-6321-6157-78C1D3083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16A58-C62A-FB72-93C8-EE2BBBC76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8893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3BE2CD-4C8A-60EC-6F4A-FBEC3D7D3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C998D-3577-E805-FF71-DA22FC06FD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D90E67-1302-ECF6-B51D-4A38ADB576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61CA-7F0D-9B52-A86A-A4D128596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B2565-FD37-9951-C344-0F2F6BE67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1318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>
              <a:defRPr lang="en-US" sz="1100" b="1" kern="1200" cap="all" spc="63" baseline="0" smtClean="0">
                <a:solidFill>
                  <a:schemeClr val="tx1"/>
                </a:solidFill>
                <a:latin typeface="Allianz Neo" panose="020B05040202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3360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712D0E8-0360-378D-FAA4-1837B8A9F80C}"/>
              </a:ext>
            </a:extLst>
          </p:cNvPr>
          <p:cNvSpPr/>
          <p:nvPr userDrawn="1"/>
        </p:nvSpPr>
        <p:spPr>
          <a:xfrm rot="8146405">
            <a:off x="-2269903" y="-1889485"/>
            <a:ext cx="11329630" cy="1086984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45EC31-3EE8-1124-DE4A-DF3A30F49796}"/>
              </a:ext>
            </a:extLst>
          </p:cNvPr>
          <p:cNvSpPr/>
          <p:nvPr userDrawn="1"/>
        </p:nvSpPr>
        <p:spPr>
          <a:xfrm rot="8146405">
            <a:off x="-2041801" y="549000"/>
            <a:ext cx="5760000" cy="5760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927DAF8-1E0A-C56D-7B4B-23E15C5557AA}"/>
              </a:ext>
            </a:extLst>
          </p:cNvPr>
          <p:cNvSpPr/>
          <p:nvPr userDrawn="1"/>
        </p:nvSpPr>
        <p:spPr>
          <a:xfrm rot="8146405">
            <a:off x="-3031901" y="549000"/>
            <a:ext cx="5760000" cy="57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808525"/>
            <a:ext cx="6859705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0" y="3602038"/>
            <a:ext cx="539560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DD9C24-4300-8DC6-F06C-B8A6994E75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3923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>
            <a:extLst>
              <a:ext uri="{FF2B5EF4-FFF2-40B4-BE49-F238E27FC236}">
                <a16:creationId xmlns:a16="http://schemas.microsoft.com/office/drawing/2014/main" id="{7E7CF81D-510A-01CD-9880-18EA4510C67C}"/>
              </a:ext>
            </a:extLst>
          </p:cNvPr>
          <p:cNvSpPr/>
          <p:nvPr userDrawn="1"/>
        </p:nvSpPr>
        <p:spPr>
          <a:xfrm rot="8146405">
            <a:off x="-2530358" y="702949"/>
            <a:ext cx="5321011" cy="5402260"/>
          </a:xfrm>
          <a:custGeom>
            <a:avLst/>
            <a:gdLst>
              <a:gd name="connsiteX0" fmla="*/ 212953 w 5321011"/>
              <a:gd name="connsiteY0" fmla="*/ 5402260 h 5402260"/>
              <a:gd name="connsiteX1" fmla="*/ 163956 w 5321011"/>
              <a:gd name="connsiteY1" fmla="*/ 5336737 h 5402260"/>
              <a:gd name="connsiteX2" fmla="*/ 0 w 5321011"/>
              <a:gd name="connsiteY2" fmla="*/ 4799981 h 5402260"/>
              <a:gd name="connsiteX3" fmla="*/ 0 w 5321011"/>
              <a:gd name="connsiteY3" fmla="*/ 960019 h 5402260"/>
              <a:gd name="connsiteX4" fmla="*/ 960019 w 5321011"/>
              <a:gd name="connsiteY4" fmla="*/ 0 h 5402260"/>
              <a:gd name="connsiteX5" fmla="*/ 4799981 w 5321011"/>
              <a:gd name="connsiteY5" fmla="*/ 0 h 5402260"/>
              <a:gd name="connsiteX6" fmla="*/ 5257583 w 5321011"/>
              <a:gd name="connsiteY6" fmla="*/ 115869 h 5402260"/>
              <a:gd name="connsiteX7" fmla="*/ 5321011 w 5321011"/>
              <a:gd name="connsiteY7" fmla="*/ 154402 h 540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1011" h="5402260">
                <a:moveTo>
                  <a:pt x="212953" y="5402260"/>
                </a:moveTo>
                <a:lnTo>
                  <a:pt x="163956" y="5336737"/>
                </a:lnTo>
                <a:cubicBezTo>
                  <a:pt x="60443" y="5183517"/>
                  <a:pt x="0" y="4998807"/>
                  <a:pt x="0" y="4799981"/>
                </a:cubicBez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cubicBezTo>
                  <a:pt x="4965670" y="0"/>
                  <a:pt x="5121555" y="41974"/>
                  <a:pt x="5257583" y="115869"/>
                </a:cubicBezTo>
                <a:lnTo>
                  <a:pt x="5321011" y="1544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808525"/>
            <a:ext cx="6859705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0" y="3602038"/>
            <a:ext cx="539560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211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45EC31-3EE8-1124-DE4A-DF3A30F49796}"/>
              </a:ext>
            </a:extLst>
          </p:cNvPr>
          <p:cNvSpPr/>
          <p:nvPr userDrawn="1"/>
        </p:nvSpPr>
        <p:spPr>
          <a:xfrm rot="8146405">
            <a:off x="-2792919" y="549000"/>
            <a:ext cx="5760000" cy="5760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3" y="808525"/>
            <a:ext cx="6859705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2390" y="3602038"/>
            <a:ext cx="539560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12" name="Grafik 11" descr="Ein Bild, das Schrift, Grafiken, Logo, Text enthält.&#10;&#10;Automatisch generierte Beschreibung">
            <a:extLst>
              <a:ext uri="{FF2B5EF4-FFF2-40B4-BE49-F238E27FC236}">
                <a16:creationId xmlns:a16="http://schemas.microsoft.com/office/drawing/2014/main" id="{4D971605-84D1-8AED-AC58-DA1B9902A9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2020" y="136526"/>
            <a:ext cx="1765579" cy="632632"/>
          </a:xfrm>
          <a:prstGeom prst="rect">
            <a:avLst/>
          </a:prstGeom>
        </p:spPr>
      </p:pic>
      <p:sp>
        <p:nvSpPr>
          <p:cNvPr id="8" name="Freihandform 7">
            <a:extLst>
              <a:ext uri="{FF2B5EF4-FFF2-40B4-BE49-F238E27FC236}">
                <a16:creationId xmlns:a16="http://schemas.microsoft.com/office/drawing/2014/main" id="{84D1E105-8926-E5E7-F99A-C036CB433952}"/>
              </a:ext>
            </a:extLst>
          </p:cNvPr>
          <p:cNvSpPr/>
          <p:nvPr userDrawn="1"/>
        </p:nvSpPr>
        <p:spPr>
          <a:xfrm rot="8146405">
            <a:off x="-2530358" y="702949"/>
            <a:ext cx="5321011" cy="5402260"/>
          </a:xfrm>
          <a:custGeom>
            <a:avLst/>
            <a:gdLst>
              <a:gd name="connsiteX0" fmla="*/ 212953 w 5321011"/>
              <a:gd name="connsiteY0" fmla="*/ 5402260 h 5402260"/>
              <a:gd name="connsiteX1" fmla="*/ 163956 w 5321011"/>
              <a:gd name="connsiteY1" fmla="*/ 5336737 h 5402260"/>
              <a:gd name="connsiteX2" fmla="*/ 0 w 5321011"/>
              <a:gd name="connsiteY2" fmla="*/ 4799981 h 5402260"/>
              <a:gd name="connsiteX3" fmla="*/ 0 w 5321011"/>
              <a:gd name="connsiteY3" fmla="*/ 960019 h 5402260"/>
              <a:gd name="connsiteX4" fmla="*/ 960019 w 5321011"/>
              <a:gd name="connsiteY4" fmla="*/ 0 h 5402260"/>
              <a:gd name="connsiteX5" fmla="*/ 4799981 w 5321011"/>
              <a:gd name="connsiteY5" fmla="*/ 0 h 5402260"/>
              <a:gd name="connsiteX6" fmla="*/ 5257583 w 5321011"/>
              <a:gd name="connsiteY6" fmla="*/ 115869 h 5402260"/>
              <a:gd name="connsiteX7" fmla="*/ 5321011 w 5321011"/>
              <a:gd name="connsiteY7" fmla="*/ 154402 h 540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1011" h="5402260">
                <a:moveTo>
                  <a:pt x="212953" y="5402260"/>
                </a:moveTo>
                <a:lnTo>
                  <a:pt x="163956" y="5336737"/>
                </a:lnTo>
                <a:cubicBezTo>
                  <a:pt x="60443" y="5183517"/>
                  <a:pt x="0" y="4998807"/>
                  <a:pt x="0" y="4799981"/>
                </a:cubicBez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cubicBezTo>
                  <a:pt x="4965670" y="0"/>
                  <a:pt x="5121555" y="41974"/>
                  <a:pt x="5257583" y="115869"/>
                </a:cubicBezTo>
                <a:lnTo>
                  <a:pt x="5321011" y="1544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2363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A00CC-2A4B-52FB-1E6C-BFE527BA7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68C855-AF5B-CEEA-2B8D-81FBD0DD98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CCF1D2-A74F-4D7C-ABAD-03BC299E23C6}" type="datetimeFigureOut">
              <a:rPr lang="de-DE" smtClean="0"/>
              <a:t>12.11.25</a:t>
            </a:fld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30ED6D-6B05-4284-B03B-DFC87B6ACF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0522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762" y="1122363"/>
            <a:ext cx="5757237" cy="2387600"/>
          </a:xfrm>
        </p:spPr>
        <p:txBody>
          <a:bodyPr anchor="b"/>
          <a:lstStyle>
            <a:lvl1pPr algn="ctr">
              <a:defRPr sz="6000" b="0" i="0">
                <a:latin typeface="Yanone Kaffeesatz Regular" panose="02000000000000000000" pitchFamily="2" charset="77"/>
              </a:defRPr>
            </a:lvl1pPr>
          </a:lstStyle>
          <a:p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10762" y="3602038"/>
            <a:ext cx="5757238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Yanone Kaffeesatz Regular" panose="02000000000000000000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C44A8-0D1F-2BEA-D2AA-2EDF418841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0224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18576" y="6356349"/>
            <a:ext cx="2590799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/>
              <a:t>2024</a:t>
            </a:r>
          </a:p>
        </p:txBody>
      </p:sp>
      <p:pic>
        <p:nvPicPr>
          <p:cNvPr id="8" name="Grafik 7" descr="Ein Bild, das Muster, Grafiken, Pixel, Design enthält.&#10;&#10;Automatisch generierte Beschreibung">
            <a:extLst>
              <a:ext uri="{FF2B5EF4-FFF2-40B4-BE49-F238E27FC236}">
                <a16:creationId xmlns:a16="http://schemas.microsoft.com/office/drawing/2014/main" id="{2B0A149E-8D99-0C22-553A-80BC343346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671" y="5726683"/>
            <a:ext cx="994791" cy="994791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8A8EA4AA-935A-6E6D-714F-244451B813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156B8EDC-C86B-F983-B4A4-B7856C4D2D6E}"/>
              </a:ext>
            </a:extLst>
          </p:cNvPr>
          <p:cNvSpPr/>
          <p:nvPr userDrawn="1"/>
        </p:nvSpPr>
        <p:spPr>
          <a:xfrm rot="8146405">
            <a:off x="-2530358" y="702949"/>
            <a:ext cx="5321011" cy="5402260"/>
          </a:xfrm>
          <a:custGeom>
            <a:avLst/>
            <a:gdLst>
              <a:gd name="connsiteX0" fmla="*/ 212953 w 5321011"/>
              <a:gd name="connsiteY0" fmla="*/ 5402260 h 5402260"/>
              <a:gd name="connsiteX1" fmla="*/ 163956 w 5321011"/>
              <a:gd name="connsiteY1" fmla="*/ 5336737 h 5402260"/>
              <a:gd name="connsiteX2" fmla="*/ 0 w 5321011"/>
              <a:gd name="connsiteY2" fmla="*/ 4799981 h 5402260"/>
              <a:gd name="connsiteX3" fmla="*/ 0 w 5321011"/>
              <a:gd name="connsiteY3" fmla="*/ 960019 h 5402260"/>
              <a:gd name="connsiteX4" fmla="*/ 960019 w 5321011"/>
              <a:gd name="connsiteY4" fmla="*/ 0 h 5402260"/>
              <a:gd name="connsiteX5" fmla="*/ 4799981 w 5321011"/>
              <a:gd name="connsiteY5" fmla="*/ 0 h 5402260"/>
              <a:gd name="connsiteX6" fmla="*/ 5257583 w 5321011"/>
              <a:gd name="connsiteY6" fmla="*/ 115869 h 5402260"/>
              <a:gd name="connsiteX7" fmla="*/ 5321011 w 5321011"/>
              <a:gd name="connsiteY7" fmla="*/ 154402 h 540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1011" h="5402260">
                <a:moveTo>
                  <a:pt x="212953" y="5402260"/>
                </a:moveTo>
                <a:lnTo>
                  <a:pt x="163956" y="5336737"/>
                </a:lnTo>
                <a:cubicBezTo>
                  <a:pt x="60443" y="5183517"/>
                  <a:pt x="0" y="4998807"/>
                  <a:pt x="0" y="4799981"/>
                </a:cubicBez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cubicBezTo>
                  <a:pt x="4965670" y="0"/>
                  <a:pt x="5121555" y="41974"/>
                  <a:pt x="5257583" y="115869"/>
                </a:cubicBezTo>
                <a:lnTo>
                  <a:pt x="5321011" y="1544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1186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F41D24A-6EFE-6F77-CDE5-43A710DD82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4379" y="-19455"/>
            <a:ext cx="9100440" cy="7993256"/>
          </a:xfrm>
          <a:custGeom>
            <a:avLst/>
            <a:gdLst>
              <a:gd name="connsiteX0" fmla="*/ 3383871 w 9100440"/>
              <a:gd name="connsiteY0" fmla="*/ 0 h 7993256"/>
              <a:gd name="connsiteX1" fmla="*/ 6469085 w 9100440"/>
              <a:gd name="connsiteY1" fmla="*/ 0 h 7993256"/>
              <a:gd name="connsiteX2" fmla="*/ 8789857 w 9100440"/>
              <a:gd name="connsiteY2" fmla="*/ 2384288 h 7993256"/>
              <a:gd name="connsiteX3" fmla="*/ 8768937 w 9100440"/>
              <a:gd name="connsiteY3" fmla="*/ 3933939 h 7993256"/>
              <a:gd name="connsiteX4" fmla="*/ 4917608 w 9100440"/>
              <a:gd name="connsiteY4" fmla="*/ 7682672 h 7993256"/>
              <a:gd name="connsiteX5" fmla="*/ 3367956 w 9100440"/>
              <a:gd name="connsiteY5" fmla="*/ 7661753 h 7993256"/>
              <a:gd name="connsiteX6" fmla="*/ 310585 w 9100440"/>
              <a:gd name="connsiteY6" fmla="*/ 4520706 h 7993256"/>
              <a:gd name="connsiteX7" fmla="*/ 331504 w 9100440"/>
              <a:gd name="connsiteY7" fmla="*/ 2971054 h 7993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00440" h="7993256">
                <a:moveTo>
                  <a:pt x="3383871" y="0"/>
                </a:moveTo>
                <a:lnTo>
                  <a:pt x="6469085" y="0"/>
                </a:lnTo>
                <a:lnTo>
                  <a:pt x="8789857" y="2384288"/>
                </a:lnTo>
                <a:cubicBezTo>
                  <a:pt x="9212004" y="2817989"/>
                  <a:pt x="9202638" y="3511792"/>
                  <a:pt x="8768937" y="3933939"/>
                </a:cubicBezTo>
                <a:lnTo>
                  <a:pt x="4917608" y="7682672"/>
                </a:lnTo>
                <a:cubicBezTo>
                  <a:pt x="4483906" y="8104820"/>
                  <a:pt x="3790104" y="8095454"/>
                  <a:pt x="3367956" y="7661753"/>
                </a:cubicBezTo>
                <a:lnTo>
                  <a:pt x="310585" y="4520706"/>
                </a:lnTo>
                <a:cubicBezTo>
                  <a:pt x="-111563" y="4087004"/>
                  <a:pt x="-102197" y="3393202"/>
                  <a:pt x="331504" y="2971054"/>
                </a:cubicBezTo>
                <a:close/>
              </a:path>
            </a:pathLst>
          </a:cu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A2F4AD8-5337-0867-02FC-8EF81F86DBCF}"/>
              </a:ext>
            </a:extLst>
          </p:cNvPr>
          <p:cNvSpPr/>
          <p:nvPr userDrawn="1"/>
        </p:nvSpPr>
        <p:spPr>
          <a:xfrm rot="8146405">
            <a:off x="7377548" y="190210"/>
            <a:ext cx="7584520" cy="6477580"/>
          </a:xfrm>
          <a:prstGeom prst="roundRect">
            <a:avLst/>
          </a:prstGeom>
          <a:noFill/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24E052-B46B-F160-5C81-AD3B295EDE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9600" y="136525"/>
            <a:ext cx="3118104" cy="111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407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_Empt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600" y="767994"/>
            <a:ext cx="7098802" cy="2387600"/>
          </a:xfrm>
        </p:spPr>
        <p:txBody>
          <a:bodyPr anchor="b">
            <a:noAutofit/>
          </a:bodyPr>
          <a:lstStyle>
            <a:lvl1pPr algn="ctr">
              <a:defRPr sz="7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3448262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8AFBC58A-24EC-E293-2BAD-116750C896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42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1F25C7-C147-FAB3-ECDC-00146B6BDA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299600" y="284939"/>
            <a:ext cx="1435164" cy="1137462"/>
          </a:xfrm>
          <a:prstGeom prst="rect">
            <a:avLst/>
          </a:prstGeom>
        </p:spPr>
      </p:pic>
      <p:sp>
        <p:nvSpPr>
          <p:cNvPr id="7" name="Freihandform 6">
            <a:extLst>
              <a:ext uri="{FF2B5EF4-FFF2-40B4-BE49-F238E27FC236}">
                <a16:creationId xmlns:a16="http://schemas.microsoft.com/office/drawing/2014/main" id="{966464C0-9BA4-9F41-5B55-D19458903B2A}"/>
              </a:ext>
            </a:extLst>
          </p:cNvPr>
          <p:cNvSpPr/>
          <p:nvPr userDrawn="1"/>
        </p:nvSpPr>
        <p:spPr>
          <a:xfrm rot="8146405">
            <a:off x="7381557" y="200076"/>
            <a:ext cx="7556230" cy="6477580"/>
          </a:xfrm>
          <a:custGeom>
            <a:avLst/>
            <a:gdLst>
              <a:gd name="connsiteX0" fmla="*/ 287923 w 7556230"/>
              <a:gd name="connsiteY0" fmla="*/ 6161367 h 6477580"/>
              <a:gd name="connsiteX1" fmla="*/ 20248 w 7556230"/>
              <a:gd name="connsiteY1" fmla="*/ 5719008 h 6477580"/>
              <a:gd name="connsiteX2" fmla="*/ 0 w 7556230"/>
              <a:gd name="connsiteY2" fmla="*/ 5640261 h 6477580"/>
              <a:gd name="connsiteX3" fmla="*/ 5490008 w 7556230"/>
              <a:gd name="connsiteY3" fmla="*/ 0 h 6477580"/>
              <a:gd name="connsiteX4" fmla="*/ 6476612 w 7556230"/>
              <a:gd name="connsiteY4" fmla="*/ 0 h 6477580"/>
              <a:gd name="connsiteX5" fmla="*/ 7556230 w 7556230"/>
              <a:gd name="connsiteY5" fmla="*/ 1079618 h 6477580"/>
              <a:gd name="connsiteX6" fmla="*/ 7556230 w 7556230"/>
              <a:gd name="connsiteY6" fmla="*/ 5397962 h 6477580"/>
              <a:gd name="connsiteX7" fmla="*/ 6476612 w 7556230"/>
              <a:gd name="connsiteY7" fmla="*/ 6477580 h 6477580"/>
              <a:gd name="connsiteX8" fmla="*/ 1051328 w 7556230"/>
              <a:gd name="connsiteY8" fmla="*/ 6477580 h 6477580"/>
              <a:gd name="connsiteX9" fmla="*/ 287923 w 7556230"/>
              <a:gd name="connsiteY9" fmla="*/ 6161367 h 6477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56230" h="6477580">
                <a:moveTo>
                  <a:pt x="287923" y="6161367"/>
                </a:moveTo>
                <a:cubicBezTo>
                  <a:pt x="165815" y="6039260"/>
                  <a:pt x="72822" y="5888038"/>
                  <a:pt x="20248" y="5719008"/>
                </a:cubicBezTo>
                <a:lnTo>
                  <a:pt x="0" y="5640261"/>
                </a:lnTo>
                <a:lnTo>
                  <a:pt x="5490008" y="0"/>
                </a:lnTo>
                <a:lnTo>
                  <a:pt x="6476612" y="0"/>
                </a:lnTo>
                <a:cubicBezTo>
                  <a:pt x="7072869" y="0"/>
                  <a:pt x="7556230" y="483361"/>
                  <a:pt x="7556230" y="1079618"/>
                </a:cubicBezTo>
                <a:lnTo>
                  <a:pt x="7556230" y="5397962"/>
                </a:lnTo>
                <a:cubicBezTo>
                  <a:pt x="7556230" y="5994219"/>
                  <a:pt x="7072869" y="6477580"/>
                  <a:pt x="6476612" y="6477580"/>
                </a:cubicBezTo>
                <a:lnTo>
                  <a:pt x="1051328" y="6477580"/>
                </a:lnTo>
                <a:cubicBezTo>
                  <a:pt x="753199" y="6477580"/>
                  <a:pt x="483295" y="6356739"/>
                  <a:pt x="287923" y="6161367"/>
                </a:cubicBezTo>
                <a:close/>
              </a:path>
            </a:pathLst>
          </a:custGeom>
          <a:solidFill>
            <a:schemeClr val="bg2"/>
          </a:solidFill>
          <a:ln w="2508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455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F75BE-15D9-60F9-7795-337D82BBC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781" y="552889"/>
            <a:ext cx="5757237" cy="2387600"/>
          </a:xfrm>
        </p:spPr>
        <p:txBody>
          <a:bodyPr anchor="b"/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88D2DB-04AB-B167-BEAA-52A6938406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2780" y="2992657"/>
            <a:ext cx="575723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7DAF6-4095-4BDD-9367-BC5EC5698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0DB6-D1EA-BE92-791B-ACCEF05FF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C5E234-CAE2-FE52-F229-651DBB256133}"/>
              </a:ext>
            </a:extLst>
          </p:cNvPr>
          <p:cNvSpPr/>
          <p:nvPr userDrawn="1"/>
        </p:nvSpPr>
        <p:spPr>
          <a:xfrm>
            <a:off x="9342783" y="136525"/>
            <a:ext cx="2743200" cy="14802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8F8FB3CB-8940-33E0-0F15-A3EC15C3F8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376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E8CD7-6111-CA21-EA1B-E97DDD403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773B0-116E-6C4E-1B14-EBC7008698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6DA9A-1618-CF61-9AD8-71F20729D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0502C-10E2-E5DB-7D32-F5EC6FB5B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CD57-218D-F4F5-6D4A-BB59F3AF2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3580D2A8-40AB-BDA7-D3E7-1318C80107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055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E8BF0-3565-BC0F-6F6B-D8DA7F295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E4321-D058-6E8A-C64E-1B06E758F5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9B00B-60D1-E849-7AEA-B8BB8431FF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E38E46-74A0-5B18-1617-1A0830D5B1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14B64D-1553-A6E4-5CD1-50130B6A3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84ACA3-0BCB-4A6F-C329-FAD01D1AD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4B1C5D9A-517D-1D51-03A4-573EC40B2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371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E4FA4-AD5B-A747-8D93-B63300FB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9888B-0523-71AB-6E54-109E181FD2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CDB89-EB6C-D239-FEEC-72CF33B86C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8888AB-5209-FB7A-52E6-6CD89F3163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E5E2F-565F-DF2C-57D1-755565521E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4A796-D1C9-245E-BD9D-AC5B672A79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67328E-29ED-B193-22F0-BBEDC1234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D39399-9A17-5B69-D771-98564D94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DD09585B-A278-5594-F980-61D3C53A1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85641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A00CC-2A4B-52FB-1E6C-BFE527BA7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68C855-AF5B-CEEA-2B8D-81FBD0DD98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0ECF7F90-C812-89F4-66D4-D6BBF378AE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53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6179E4-51A9-1DD0-4878-B22C0E7662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102B43-6564-BC5A-CBB1-8828DA072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B0F751-CEF4-8F83-4C15-EEA33C011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6E076D-C113-47CD-9839-B27106646B53}" type="slidenum">
              <a:rPr lang="de-DE" smtClean="0"/>
              <a:t>‹Nr.›</a:t>
            </a:fld>
            <a:endParaRPr lang="de-DE"/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CC877D16-65DD-8514-8D86-8D11C83FCF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465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5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18" Type="http://schemas.openxmlformats.org/officeDocument/2006/relationships/image" Target="../media/image9.sv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5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724447-DE78-0BB1-BBC5-F9A0E547D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B3B62-96C6-9F59-89B4-BF2C05152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1769D6-4A6B-67A8-1681-F632418DF74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07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63" r:id="rId3"/>
    <p:sldLayoutId id="2147483664" r:id="rId4"/>
    <p:sldLayoutId id="2147483666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't use level 7 to 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96D089-139C-41B2-BADE-6EF7E3A522E1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t>‹Nr.›</a:t>
            </a:fld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5868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5110">
          <p15:clr>
            <a:srgbClr val="F26B43"/>
          </p15:clr>
        </p15:guide>
        <p15:guide id="16" pos="4974">
          <p15:clr>
            <a:srgbClr val="F26B43"/>
          </p15:clr>
        </p15:guide>
        <p15:guide id="17" pos="6312">
          <p15:clr>
            <a:srgbClr val="F26B43"/>
          </p15:clr>
        </p15:guide>
        <p15:guide id="18" pos="6176">
          <p15:clr>
            <a:srgbClr val="F26B43"/>
          </p15:clr>
        </p15:guide>
        <p15:guide id="19" orient="horz" pos="550">
          <p15:clr>
            <a:srgbClr val="F26B43"/>
          </p15:clr>
        </p15:guide>
        <p15:guide id="21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958955-44E1-720B-D9A0-B53EAEB104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4539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22" imgH="623" progId="TCLayout.ActiveDocument.1">
                  <p:embed/>
                </p:oleObj>
              </mc:Choice>
              <mc:Fallback>
                <p:oleObj name="think-cell Slide" r:id="rId12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958955-44E1-720B-D9A0-B53EAEB10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't use level 7 to 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96D089-139C-41B2-BADE-6EF7E3A522E1}"/>
              </a:ext>
            </a:extLst>
          </p:cNvPr>
          <p:cNvSpPr txBox="1"/>
          <p:nvPr userDrawn="1"/>
        </p:nvSpPr>
        <p:spPr>
          <a:xfrm>
            <a:off x="11443580" y="6369696"/>
            <a:ext cx="265176" cy="14630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lnSpc>
                <a:spcPts val="1000"/>
              </a:lnSpc>
              <a:defRPr sz="800" b="1">
                <a:solidFill>
                  <a:schemeClr val="bg1"/>
                </a:solidFill>
              </a:defRPr>
            </a:lvl1pPr>
          </a:lstStyle>
          <a:p>
            <a:pPr lvl="0" algn="r"/>
            <a:fld id="{0F96B16C-3F5F-44BC-AFCC-8CBCBD90898D}" type="slidenum">
              <a:rPr lang="de-DE" smtClean="0">
                <a:solidFill>
                  <a:schemeClr val="tx1"/>
                </a:solidFill>
              </a:rPr>
              <a:t>‹Nr.›</a:t>
            </a:fld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8643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hf hdr="0" ftr="0" dt="0"/>
  <p:txStyles>
    <p:titleStyle>
      <a:lvl1pPr algn="l" defTabSz="967710" rtl="0" eaLnBrk="1" latinLnBrk="0" hangingPunct="1">
        <a:lnSpc>
          <a:spcPts val="32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5110">
          <p15:clr>
            <a:srgbClr val="F26B43"/>
          </p15:clr>
        </p15:guide>
        <p15:guide id="16" pos="4974">
          <p15:clr>
            <a:srgbClr val="F26B43"/>
          </p15:clr>
        </p15:guide>
        <p15:guide id="17" pos="6312">
          <p15:clr>
            <a:srgbClr val="F26B43"/>
          </p15:clr>
        </p15:guide>
        <p15:guide id="18" pos="6176">
          <p15:clr>
            <a:srgbClr val="F26B43"/>
          </p15:clr>
        </p15:guide>
        <p15:guide id="19" orient="horz" pos="550">
          <p15:clr>
            <a:srgbClr val="F26B43"/>
          </p15:clr>
        </p15:guide>
        <p15:guide id="21" orient="horz" pos="11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D22495-D18F-103C-A3D3-61F037DB43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6046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D22495-D18F-103C-A3D3-61F037DB4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't use level 7 to 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28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5110">
          <p15:clr>
            <a:srgbClr val="F26B43"/>
          </p15:clr>
        </p15:guide>
        <p15:guide id="16" pos="4974">
          <p15:clr>
            <a:srgbClr val="F26B43"/>
          </p15:clr>
        </p15:guide>
        <p15:guide id="17" pos="6312">
          <p15:clr>
            <a:srgbClr val="F26B43"/>
          </p15:clr>
        </p15:guide>
        <p15:guide id="18" pos="6176">
          <p15:clr>
            <a:srgbClr val="F26B43"/>
          </p15:clr>
        </p15:guide>
        <p15:guide id="19" orient="horz" pos="550">
          <p15:clr>
            <a:srgbClr val="F26B43"/>
          </p15:clr>
        </p15:guide>
        <p15:guide id="21" orient="horz" pos="113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Do not use levels 7 to 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64769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5110">
          <p15:clr>
            <a:srgbClr val="F26B43"/>
          </p15:clr>
        </p15:guide>
        <p15:guide id="16" pos="4974">
          <p15:clr>
            <a:srgbClr val="F26B43"/>
          </p15:clr>
        </p15:guide>
        <p15:guide id="17" pos="6312">
          <p15:clr>
            <a:srgbClr val="F26B43"/>
          </p15:clr>
        </p15:guide>
        <p15:guide id="18" pos="6176">
          <p15:clr>
            <a:srgbClr val="F26B43"/>
          </p15:clr>
        </p15:guide>
        <p15:guide id="19" orient="horz" pos="550">
          <p15:clr>
            <a:srgbClr val="F26B43"/>
          </p15:clr>
        </p15:guide>
        <p15:guide id="21" orient="horz" pos="11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724447-DE78-0BB1-BBC5-F9A0E547D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B3B62-96C6-9F59-89B4-BF2C05152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1769D6-4A6B-67A8-1681-F632418DF74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17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724447-DE78-0BB1-BBC5-F9A0E547D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B3B62-96C6-9F59-89B4-BF2C05152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7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724447-DE78-0BB1-BBC5-F9A0E547D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B3B62-96C6-9F59-89B4-BF2C05152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0862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duperrin.com/english/2017/10/05/mind-the-digital-gap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vdivde-it.de/de/auftraggeber/bundesministerium-fuer-forschung-technologie-und-raumfahrt" TargetMode="External"/><Relationship Id="rId3" Type="http://schemas.openxmlformats.org/officeDocument/2006/relationships/hyperlink" Target="https://logowik.com/europa-universitaet-flensburg-logo-vector-40514.html" TargetMode="External"/><Relationship Id="rId7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svg"/><Relationship Id="rId11" Type="http://schemas.openxmlformats.org/officeDocument/2006/relationships/image" Target="../media/image36.jpeg"/><Relationship Id="rId5" Type="http://schemas.openxmlformats.org/officeDocument/2006/relationships/image" Target="../media/image11.png"/><Relationship Id="rId10" Type="http://schemas.openxmlformats.org/officeDocument/2006/relationships/image" Target="../media/image35.jpeg"/><Relationship Id="rId4" Type="http://schemas.openxmlformats.org/officeDocument/2006/relationships/image" Target="../media/image16.png"/><Relationship Id="rId9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xtradia.ch/ihr-unternehmenstransfer-in-sicheren-haenden/" TargetMode="External"/><Relationship Id="rId3" Type="http://schemas.openxmlformats.org/officeDocument/2006/relationships/image" Target="../media/image37.jpg"/><Relationship Id="rId7" Type="http://schemas.openxmlformats.org/officeDocument/2006/relationships/image" Target="../media/image3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uhlberg-advisory.de/2023/07/12/lernmodul/" TargetMode="External"/><Relationship Id="rId5" Type="http://schemas.openxmlformats.org/officeDocument/2006/relationships/image" Target="../media/image38.jpeg"/><Relationship Id="rId4" Type="http://schemas.openxmlformats.org/officeDocument/2006/relationships/hyperlink" Target="https://vinwonders.com/vi/bai-viet-du-lich/workshop-ve-tranh-ha-noi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de.freepik.com/fotos-premium/schwarze-und-weisse-menschen-schuetteln-sich-die-haende-vereinbarungs-haendedruck_64512243.htm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png"/><Relationship Id="rId4" Type="http://schemas.openxmlformats.org/officeDocument/2006/relationships/hyperlink" Target="https://digital-magazin.de/deutschlands-europas-digitale-souveraenitaet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43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8.xml"/><Relationship Id="rId6" Type="http://schemas.openxmlformats.org/officeDocument/2006/relationships/hyperlink" Target="https://www.linkedin.com/in/rainerkarcher/" TargetMode="External"/><Relationship Id="rId5" Type="http://schemas.openxmlformats.org/officeDocument/2006/relationships/hyperlink" Target="mailto:rainer.karcher@sustainableit.org" TargetMode="External"/><Relationship Id="rId10" Type="http://schemas.openxmlformats.org/officeDocument/2006/relationships/image" Target="../media/image47.svg"/><Relationship Id="rId4" Type="http://schemas.openxmlformats.org/officeDocument/2006/relationships/image" Target="../media/image44.svg"/><Relationship Id="rId9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reen-coding.io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3.xml"/><Relationship Id="rId5" Type="http://schemas.openxmlformats.org/officeDocument/2006/relationships/image" Target="../media/image16.pn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16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6.png"/><Relationship Id="rId5" Type="http://schemas.openxmlformats.org/officeDocument/2006/relationships/image" Target="../media/image1.png"/><Relationship Id="rId4" Type="http://schemas.openxmlformats.org/officeDocument/2006/relationships/hyperlink" Target="https://arstechnica.com/ai/2025/07/openai-and-partners-are-building-a-massive-ai-data-center-in-texas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bay.de/itm/ORION-Glasflasche-fur-WASSER-SAFT-mit-Schraubverschluss-0-5l-500-ml/184333902013" TargetMode="External"/><Relationship Id="rId7" Type="http://schemas.openxmlformats.org/officeDocument/2006/relationships/image" Target="../media/image16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.png"/><Relationship Id="rId5" Type="http://schemas.openxmlformats.org/officeDocument/2006/relationships/hyperlink" Target="https://www.freiepresse.de/chemnitz/wie-eine-chemnitzer-kita-maedchen-und-jungen-vor-der-sonne-schuetzt-artikel12965749" TargetMode="External"/><Relationship Id="rId4" Type="http://schemas.openxmlformats.org/officeDocument/2006/relationships/image" Target="../media/image2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BF6196E-7CD3-1467-EABD-2AFBE44CAC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8762" y="1870895"/>
            <a:ext cx="6163638" cy="3746130"/>
          </a:xfrm>
        </p:spPr>
        <p:txBody>
          <a:bodyPr>
            <a:noAutofit/>
          </a:bodyPr>
          <a:lstStyle/>
          <a:p>
            <a:pPr algn="l"/>
            <a: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 Dr. Henning </a:t>
            </a:r>
            <a:r>
              <a:rPr lang="en-GB" sz="3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ffke</a:t>
            </a: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essor of Applied Computer Science BHH</a:t>
            </a: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iner Karcher</a:t>
            </a: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GB" sz="3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nder &amp; CEO Heartprint GmbH</a:t>
            </a:r>
            <a:br>
              <a:rPr lang="en-GB" sz="1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1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1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ef Sustainability Officer </a:t>
            </a:r>
            <a:r>
              <a:rPr lang="en-GB" sz="11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leIT.org</a:t>
            </a:r>
            <a:br>
              <a:rPr lang="en-GB" sz="11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GB" sz="320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C9E9F7E-D505-67AF-B429-3401E703B660}"/>
              </a:ext>
            </a:extLst>
          </p:cNvPr>
          <p:cNvSpPr txBox="1"/>
          <p:nvPr/>
        </p:nvSpPr>
        <p:spPr>
          <a:xfrm>
            <a:off x="1051561" y="5760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46"/>
            <a:endParaRPr lang="en-GB" dirty="0">
              <a:solidFill>
                <a:srgbClr val="F8F6FA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" name="Untertitel 4">
            <a:extLst>
              <a:ext uri="{FF2B5EF4-FFF2-40B4-BE49-F238E27FC236}">
                <a16:creationId xmlns:a16="http://schemas.microsoft.com/office/drawing/2014/main" id="{AE01DE36-2CA7-E9A4-EB1A-67E9792E67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762" y="5770880"/>
            <a:ext cx="5757238" cy="863880"/>
          </a:xfrm>
        </p:spPr>
        <p:txBody>
          <a:bodyPr>
            <a:normAutofit/>
          </a:bodyPr>
          <a:lstStyle/>
          <a:p>
            <a:endParaRPr lang="en-GB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/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ember 13</a:t>
            </a:r>
            <a:r>
              <a:rPr lang="en-GB" sz="1800" baseline="30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</a:t>
            </a:r>
            <a:r>
              <a:rPr lang="en-GB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25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0C7E912E-17D8-8C29-18D9-D4BDDD4D40B2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237" y="461924"/>
            <a:ext cx="3182620" cy="726440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89109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uman-machine frontier - Future of Jobs Report 2025">
            <a:extLst>
              <a:ext uri="{FF2B5EF4-FFF2-40B4-BE49-F238E27FC236}">
                <a16:creationId xmlns:a16="http://schemas.microsoft.com/office/drawing/2014/main" id="{7DD7FBD9-0D35-22A6-6776-0080C34C1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1">
            <a:extLst>
              <a:ext uri="{FF2B5EF4-FFF2-40B4-BE49-F238E27FC236}">
                <a16:creationId xmlns:a16="http://schemas.microsoft.com/office/drawing/2014/main" id="{D5961B73-6470-0881-80D2-FDA7085438C2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F874729A-0828-F41D-A6F9-C340AE664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7597" y="1704213"/>
            <a:ext cx="3623683" cy="2359787"/>
          </a:xfrm>
        </p:spPr>
        <p:txBody>
          <a:bodyPr>
            <a:normAutofit/>
          </a:bodyPr>
          <a:lstStyle/>
          <a:p>
            <a:pPr algn="ctr"/>
            <a:r>
              <a:rPr lang="en-GB" sz="2400" noProof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thesis:</a:t>
            </a:r>
            <a:br>
              <a:rPr lang="en-GB" sz="2400" noProof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400" noProof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the next 5 years, millions of people will lose their jobs to AI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5662775-049E-C45A-9CBF-CB4A7C01982F}"/>
              </a:ext>
            </a:extLst>
          </p:cNvPr>
          <p:cNvSpPr txBox="1"/>
          <p:nvPr/>
        </p:nvSpPr>
        <p:spPr>
          <a:xfrm>
            <a:off x="7887597" y="4064000"/>
            <a:ext cx="36236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oun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stomer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port and Logis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Analy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ders &amp; Program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noProof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ised manual tasks</a:t>
            </a:r>
          </a:p>
        </p:txBody>
      </p:sp>
    </p:spTree>
    <p:extLst>
      <p:ext uri="{BB962C8B-B14F-4D97-AF65-F5344CB8AC3E}">
        <p14:creationId xmlns:p14="http://schemas.microsoft.com/office/powerpoint/2010/main" val="2034008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0ABD9-83B4-AF79-99AE-4837B6133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36CD0CB8-72BC-40CF-FECE-C4C6D65F8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ying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 Bottleneck: </a:t>
            </a:r>
            <a:b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8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Competence Gap</a:t>
            </a:r>
            <a:b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de-DE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D5C8A968-47FC-285A-FD19-8BF63FB88790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DBC1054-1E0B-0ED2-C2CB-7BCBC0A4EE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/>
        </p:blipFill>
        <p:spPr>
          <a:xfrm>
            <a:off x="4738364" y="1245444"/>
            <a:ext cx="7443474" cy="4962316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781D9F38-63FA-DAF2-6198-5C302FC5CD72}"/>
              </a:ext>
            </a:extLst>
          </p:cNvPr>
          <p:cNvSpPr txBox="1">
            <a:spLocks/>
          </p:cNvSpPr>
          <p:nvPr/>
        </p:nvSpPr>
        <p:spPr>
          <a:xfrm>
            <a:off x="91442" y="2544731"/>
            <a:ext cx="3623683" cy="23597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ck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ols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b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t a lack </a:t>
            </a:r>
            <a:r>
              <a:rPr lang="de-DE" sz="2400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400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</a:t>
            </a:r>
            <a: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b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ining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rricula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s</a:t>
            </a:r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</a:t>
            </a:r>
            <a:r>
              <a:rPr lang="de-DE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 update</a:t>
            </a:r>
          </a:p>
        </p:txBody>
      </p:sp>
    </p:spTree>
    <p:extLst>
      <p:ext uri="{BB962C8B-B14F-4D97-AF65-F5344CB8AC3E}">
        <p14:creationId xmlns:p14="http://schemas.microsoft.com/office/powerpoint/2010/main" val="40475112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FECC9-D136-ED17-AC26-BCAE5ED37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375B13B2-5261-8CB1-9536-930F4B31C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BIT: </a:t>
            </a:r>
            <a:r>
              <a:rPr lang="de-DE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ucation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</a:t>
            </a:r>
            <a:r>
              <a:rPr lang="de-DE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abler</a:t>
            </a:r>
            <a:endParaRPr lang="de-DE" sz="280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D45C7FD0-DFBA-5AE8-9F30-3FE2EDE4A4C9}"/>
              </a:ext>
            </a:extLst>
          </p:cNvPr>
          <p:cNvPicPr>
            <a:picLocks noChangeAspect="1"/>
            <a:extLst>
              <a:ext uri="smNativeData">
                <pr:smNativeData xmlns="smNativeData" xmlns:pr="smNativeData" xmlns:p15="http://schemas.microsoft.com/office/powerpoint/2012/main" xmlns:p14="http://schemas.microsoft.com/office/powerpoint/2010/main" xmlns:mc="http://schemas.openxmlformats.org/markup-compatibility/2006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B163339-C798-D6C5-094D-FC94B8973E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21240"/>
            <a:ext cx="5944431" cy="523676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D7DE08C-E40B-1291-0E5C-124C16AF74C1}"/>
              </a:ext>
            </a:extLst>
          </p:cNvPr>
          <p:cNvSpPr txBox="1">
            <a:spLocks/>
          </p:cNvSpPr>
          <p:nvPr/>
        </p:nvSpPr>
        <p:spPr>
          <a:xfrm>
            <a:off x="6912236" y="1960881"/>
            <a:ext cx="4781924" cy="3921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tainable 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cation in </a:t>
            </a:r>
            <a:b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 Training </a:t>
            </a:r>
            <a:r>
              <a:rPr lang="en-US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professional development:</a:t>
            </a:r>
            <a:br>
              <a:rPr lang="en-US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research project designed to bridge the competence gap.</a:t>
            </a:r>
            <a:b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r Goal: </a:t>
            </a:r>
            <a:br>
              <a:rPr lang="en-US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400" dirty="0">
              <a:solidFill>
                <a:srgbClr val="9EBEA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 skills in I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ar learning forma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ulting concepts</a:t>
            </a:r>
          </a:p>
        </p:txBody>
      </p:sp>
    </p:spTree>
    <p:extLst>
      <p:ext uri="{BB962C8B-B14F-4D97-AF65-F5344CB8AC3E}">
        <p14:creationId xmlns:p14="http://schemas.microsoft.com/office/powerpoint/2010/main" val="1032897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C2B928-F2EB-F2E3-EBF0-F6FECDF0B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C40A3022-8340-587B-A444-DC8D77CF0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BIT: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ion</a:t>
            </a:r>
            <a:r>
              <a:rPr lang="de-DE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de-DE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d</a:t>
            </a:r>
            <a:endParaRPr lang="de-DE" sz="280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48B4D36-8137-E662-18E8-5DAA70478FBF}"/>
              </a:ext>
            </a:extLst>
          </p:cNvPr>
          <p:cNvSpPr txBox="1">
            <a:spLocks/>
          </p:cNvSpPr>
          <p:nvPr/>
        </p:nvSpPr>
        <p:spPr>
          <a:xfrm>
            <a:off x="0" y="5590003"/>
            <a:ext cx="9966960" cy="1267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from 01/2026- 12/2028</a:t>
            </a:r>
          </a:p>
        </p:txBody>
      </p:sp>
      <p:pic>
        <p:nvPicPr>
          <p:cNvPr id="9" name="Grafik 8" descr="Ein Bild, das Schrift, weiß, Text, Design enthält.&#10;&#10;KI-generierte Inhalte können fehlerhaft sein.">
            <a:extLst>
              <a:ext uri="{FF2B5EF4-FFF2-40B4-BE49-F238E27FC236}">
                <a16:creationId xmlns:a16="http://schemas.microsoft.com/office/drawing/2014/main" id="{99928704-A789-3994-FAA4-0C66CEECF2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>
            <a:fillRect/>
          </a:stretch>
        </p:blipFill>
        <p:spPr>
          <a:xfrm>
            <a:off x="9442450" y="1879600"/>
            <a:ext cx="2749550" cy="1219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C451AF-EDE3-A2C6-E9AC-A63C926B0991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2148376"/>
            <a:ext cx="2941865" cy="67148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AA31BB0-9687-78E1-79B1-BD0EEDFE0B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05086" y="1874520"/>
            <a:ext cx="3412342" cy="1219200"/>
          </a:xfrm>
          <a:prstGeom prst="rect">
            <a:avLst/>
          </a:prstGeom>
        </p:spPr>
      </p:pic>
      <p:pic>
        <p:nvPicPr>
          <p:cNvPr id="18" name="Grafik 17" descr="Ein Bild, das Text, Schrift, Logo, Symbol enthält.&#10;&#10;KI-generierte Inhalte können fehlerhaft sein.">
            <a:extLst>
              <a:ext uri="{FF2B5EF4-FFF2-40B4-BE49-F238E27FC236}">
                <a16:creationId xmlns:a16="http://schemas.microsoft.com/office/drawing/2014/main" id="{54FFC64F-A552-8A45-60B7-8C9CE5442681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10393680" y="5930445"/>
            <a:ext cx="1798320" cy="927555"/>
          </a:xfrm>
          <a:prstGeom prst="rect">
            <a:avLst/>
          </a:prstGeom>
        </p:spPr>
      </p:pic>
      <p:pic>
        <p:nvPicPr>
          <p:cNvPr id="20" name="Grafik 19" descr="Ein Bild, das Menschliches Gesicht, Person, Kleidung, Shirt enthält.&#10;&#10;KI-generierte Inhalte können fehlerhaft sein.">
            <a:extLst>
              <a:ext uri="{FF2B5EF4-FFF2-40B4-BE49-F238E27FC236}">
                <a16:creationId xmlns:a16="http://schemas.microsoft.com/office/drawing/2014/main" id="{34ADA45A-0B7C-3ADB-436F-45B94AEF42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2585" y="3357160"/>
            <a:ext cx="2221191" cy="2221191"/>
          </a:xfrm>
          <a:prstGeom prst="rect">
            <a:avLst/>
          </a:prstGeom>
        </p:spPr>
      </p:pic>
      <p:pic>
        <p:nvPicPr>
          <p:cNvPr id="22" name="Grafik 21" descr="Ein Bild, das Menschliches Gesicht, Person, Porträtbild, Kleidung enthält.&#10;&#10;KI-generierte Inhalte können fehlerhaft sein.">
            <a:extLst>
              <a:ext uri="{FF2B5EF4-FFF2-40B4-BE49-F238E27FC236}">
                <a16:creationId xmlns:a16="http://schemas.microsoft.com/office/drawing/2014/main" id="{3BC38068-2362-4FE1-5C42-3471120B610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1506" y="3225080"/>
            <a:ext cx="2698423" cy="2364923"/>
          </a:xfrm>
          <a:prstGeom prst="rect">
            <a:avLst/>
          </a:prstGeom>
        </p:spPr>
      </p:pic>
      <p:pic>
        <p:nvPicPr>
          <p:cNvPr id="24" name="Grafik 23" descr="Ein Bild, das Person, Himmel, draußen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20D49279-B3C8-5B8C-514F-470C8F4E144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56317" y="3225080"/>
            <a:ext cx="2109880" cy="236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3365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E217DB-56EC-17E8-EC22-CA36471FE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90872499-67BA-BA81-8F96-4A39837A0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oretical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ctical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:</a:t>
            </a:r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5998F582-2925-D5B6-AD59-C5FFFE1BB10F}"/>
              </a:ext>
            </a:extLst>
          </p:cNvPr>
          <p:cNvPicPr>
            <a:picLocks noChangeAspect="1"/>
            <a:extLst>
              <a:ext uri="smNativeData">
                <pr:smNativeData xmlns="smNativeData" xmlns:pr="smNativeData" xmlns:p15="http://schemas.microsoft.com/office/powerpoint/2012/main" xmlns:p14="http://schemas.microsoft.com/office/powerpoint/2010/main" xmlns:mc="http://schemas.openxmlformats.org/markup-compatibility/2006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91D12FB-F5E1-DB18-D7D1-CBAEADD5F4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0" y="2169965"/>
            <a:ext cx="4988560" cy="332440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E8ADE7E-0163-9D8C-8A7C-3EA8731A0B2A}"/>
              </a:ext>
            </a:extLst>
          </p:cNvPr>
          <p:cNvSpPr txBox="1"/>
          <p:nvPr/>
        </p:nvSpPr>
        <p:spPr>
          <a:xfrm>
            <a:off x="1869574" y="1621240"/>
            <a:ext cx="19168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alysi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066D65F-B620-E8DF-DD32-C5BCBB80AF58}"/>
              </a:ext>
            </a:extLst>
          </p:cNvPr>
          <p:cNvSpPr txBox="1"/>
          <p:nvPr/>
        </p:nvSpPr>
        <p:spPr>
          <a:xfrm>
            <a:off x="5800278" y="1621240"/>
            <a:ext cx="19168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men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03F0BEC-E8C2-6FB6-05C4-206D278A8504}"/>
              </a:ext>
            </a:extLst>
          </p:cNvPr>
          <p:cNvSpPr txBox="1"/>
          <p:nvPr/>
        </p:nvSpPr>
        <p:spPr>
          <a:xfrm>
            <a:off x="9730982" y="1621240"/>
            <a:ext cx="19168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er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1F180E2-EE9F-341B-1A86-DADBB978EB0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/>
          </a:stretch>
        </p:blipFill>
        <p:spPr>
          <a:xfrm>
            <a:off x="5293360" y="2169965"/>
            <a:ext cx="2930641" cy="332440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5FF74E1-8BC4-3299-DA81-5080AB3E0C8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rcRect/>
          <a:stretch>
            <a:fillRect/>
          </a:stretch>
        </p:blipFill>
        <p:spPr>
          <a:xfrm>
            <a:off x="8528801" y="2169965"/>
            <a:ext cx="3663199" cy="332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617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61A3D2-D15D-FC69-83FA-ED4EDE700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721507FC-C54C-F3CF-9A05-375E4BA5F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y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tters</a:t>
            </a:r>
            <a:r>
              <a:rPr lang="de-DE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28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800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</a:t>
            </a:r>
            <a:endParaRPr lang="de-DE" sz="2800" dirty="0">
              <a:solidFill>
                <a:srgbClr val="9EBEA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7143867F-68BC-2ADE-BCB6-B9AA444E3ED3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7F29051-DD16-A507-8FFA-02C5D9232AC4}"/>
              </a:ext>
            </a:extLst>
          </p:cNvPr>
          <p:cNvSpPr txBox="1"/>
          <p:nvPr/>
        </p:nvSpPr>
        <p:spPr>
          <a:xfrm>
            <a:off x="5315398" y="1621240"/>
            <a:ext cx="6248400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Developers &amp; Architects: 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stand 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ild</a:t>
            </a:r>
            <a:br>
              <a:rPr lang="en-US" sz="2000" dirty="0"/>
            </a:br>
            <a:endParaRPr lang="en-US" sz="2000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Decision-Makers &amp; Data Center Professionals: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e 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 development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le infrastructure</a:t>
            </a:r>
            <a:b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the </a:t>
            </a:r>
            <a:r>
              <a:rPr lang="en-US" sz="2000" b="1" dirty="0" err="1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Compute</a:t>
            </a:r>
            <a:r>
              <a:rPr lang="en-US" sz="2000" b="1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munity: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al and Educational Dimension 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idge to the "Community Track" </a:t>
            </a:r>
            <a:b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chemeClr val="accent1"/>
              </a:buClr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cusing on people, justice, and governance </a:t>
            </a:r>
            <a:endPara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471385-38AA-3EAC-B6A0-C8F188EC9E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0" y="1659077"/>
            <a:ext cx="4941083" cy="4941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2294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9284D-3AB9-C2CA-0FBD-BCF883A68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E0C9355-3C90-3EB3-4B5F-C3ABD63408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/>
        </p:blipFill>
        <p:spPr>
          <a:xfrm>
            <a:off x="0" y="922867"/>
            <a:ext cx="7518400" cy="5012266"/>
          </a:xfrm>
          <a:prstGeom prst="rect">
            <a:avLst/>
          </a:prstGeom>
        </p:spPr>
      </p:pic>
      <p:pic>
        <p:nvPicPr>
          <p:cNvPr id="3" name="Grafik 11">
            <a:extLst>
              <a:ext uri="{FF2B5EF4-FFF2-40B4-BE49-F238E27FC236}">
                <a16:creationId xmlns:a16="http://schemas.microsoft.com/office/drawing/2014/main" id="{E8D49AAC-14C1-52FD-F1EB-7605ECBAAA4D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29F42824-F49A-21E2-4BCD-B2A3CB8EDC56}"/>
              </a:ext>
            </a:extLst>
          </p:cNvPr>
          <p:cNvSpPr txBox="1"/>
          <p:nvPr/>
        </p:nvSpPr>
        <p:spPr>
          <a:xfrm>
            <a:off x="7518400" y="2473719"/>
            <a:ext cx="46736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 sovereignty to defend democratic values</a:t>
            </a:r>
            <a:br>
              <a:rPr kumimoji="0" lang="en-GB" sz="2400" b="0" i="0" u="none" strike="noStrike" kern="1200" cap="none" spc="0" normalizeH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GB" sz="2400" b="0" i="0" u="none" strike="noStrike" kern="1200" cap="none" spc="0" normalizeH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</a:t>
            </a:r>
            <a:br>
              <a:rPr lang="en-GB" sz="24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y education ensures future viability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374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F7DBE-239E-EE08-6E1E-40472C75AA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>
            <a:extLst>
              <a:ext uri="{FF2B5EF4-FFF2-40B4-BE49-F238E27FC236}">
                <a16:creationId xmlns:a16="http://schemas.microsoft.com/office/drawing/2014/main" id="{3C0BFA30-CB8D-FFB0-32C0-6C6107BF7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6116" y="1785293"/>
            <a:ext cx="2750604" cy="565196"/>
          </a:xfrm>
        </p:spPr>
        <p:txBody>
          <a:bodyPr>
            <a:noAutofit/>
          </a:bodyPr>
          <a:lstStyle/>
          <a:p>
            <a:pPr algn="ctr" defTabSz="914400"/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win Transformation</a:t>
            </a:r>
            <a:endParaRPr lang="de-DE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19BEEE2-609F-B1C5-5E25-27D72E51584A}"/>
              </a:ext>
            </a:extLst>
          </p:cNvPr>
          <p:cNvSpPr txBox="1"/>
          <p:nvPr/>
        </p:nvSpPr>
        <p:spPr>
          <a:xfrm>
            <a:off x="349069" y="2798877"/>
            <a:ext cx="23404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ing environment</a:t>
            </a:r>
            <a:endParaRPr lang="de-DE" sz="2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10B36D0-4D2A-E456-848B-90F57DA5F296}"/>
              </a:ext>
            </a:extLst>
          </p:cNvPr>
          <p:cNvSpPr txBox="1"/>
          <p:nvPr/>
        </p:nvSpPr>
        <p:spPr>
          <a:xfrm>
            <a:off x="8335720" y="4569068"/>
            <a:ext cx="35336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cratic values</a:t>
            </a:r>
            <a:endParaRPr lang="de-DE" sz="2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2BAC9E7-20CB-43DF-C2D7-5B8ABF3471B0}"/>
              </a:ext>
            </a:extLst>
          </p:cNvPr>
          <p:cNvSpPr txBox="1"/>
          <p:nvPr/>
        </p:nvSpPr>
        <p:spPr>
          <a:xfrm>
            <a:off x="-234380" y="1841818"/>
            <a:ext cx="40320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 Gaps</a:t>
            </a:r>
            <a:endParaRPr lang="de-DE" sz="2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DE0E8CF-CAE4-2C6D-35DC-49E67B82CF5E}"/>
              </a:ext>
            </a:extLst>
          </p:cNvPr>
          <p:cNvSpPr txBox="1"/>
          <p:nvPr/>
        </p:nvSpPr>
        <p:spPr>
          <a:xfrm>
            <a:off x="0" y="4384403"/>
            <a:ext cx="35632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ll- Being- </a:t>
            </a:r>
          </a:p>
          <a:p>
            <a:pPr algn="ctr"/>
            <a:r>
              <a:rPr lang="en-GB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ety</a:t>
            </a:r>
            <a:endParaRPr lang="de-DE" sz="2400" dirty="0"/>
          </a:p>
        </p:txBody>
      </p:sp>
      <p:pic>
        <p:nvPicPr>
          <p:cNvPr id="3" name="Picture 4" descr="Free Weathered Directional Signage Image | Download at StockCake">
            <a:extLst>
              <a:ext uri="{FF2B5EF4-FFF2-40B4-BE49-F238E27FC236}">
                <a16:creationId xmlns:a16="http://schemas.microsoft.com/office/drawing/2014/main" id="{AFF60C72-C20A-DB4E-B74B-E6495C1BD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3769" y="1403386"/>
            <a:ext cx="4727481" cy="4727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11">
            <a:extLst>
              <a:ext uri="{FF2B5EF4-FFF2-40B4-BE49-F238E27FC236}">
                <a16:creationId xmlns:a16="http://schemas.microsoft.com/office/drawing/2014/main" id="{2F50A8CB-FC99-1548-E0EC-696E0EF33219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9046B8C-F7C8-E251-DD51-A7A68786A6A3}"/>
              </a:ext>
            </a:extLst>
          </p:cNvPr>
          <p:cNvSpPr txBox="1"/>
          <p:nvPr/>
        </p:nvSpPr>
        <p:spPr>
          <a:xfrm>
            <a:off x="8465409" y="3197178"/>
            <a:ext cx="40320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ge in SM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587378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2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8" fill="hold">
                      <p:stCondLst>
                        <p:cond delay="0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10" grpId="0"/>
      <p:bldP spid="10" grpId="1"/>
      <p:bldP spid="12" grpId="0"/>
      <p:bldP spid="14" grpId="0"/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078CA9-3718-868A-605E-DFB961B5A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450FF5-B038-29BA-518B-B5D51EB404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0629" y="307959"/>
            <a:ext cx="4830742" cy="2248685"/>
          </a:xfrm>
          <a:prstGeom prst="roundRect">
            <a:avLst>
              <a:gd name="adj" fmla="val 6622"/>
            </a:avLst>
          </a:prstGeom>
          <a:solidFill>
            <a:srgbClr val="FFFFFF"/>
          </a:solidFill>
        </p:spPr>
        <p:txBody>
          <a:bodyPr anchor="ctr">
            <a:normAutofit fontScale="90000"/>
          </a:bodyPr>
          <a:lstStyle/>
          <a:p>
            <a:pPr>
              <a:lnSpc>
                <a:spcPct val="140000"/>
              </a:lnSpc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The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utur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doe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not just happen.</a:t>
            </a:r>
            <a:br>
              <a:rPr lang="de-DE" sz="2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It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i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created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b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u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.</a:t>
            </a:r>
            <a:br>
              <a:rPr lang="de-DE" sz="2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A fair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utur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ll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i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our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hared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esponsibilit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2000" noProof="1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0885685-F4AB-D44C-6ABE-2EF9099162C3}"/>
              </a:ext>
            </a:extLst>
          </p:cNvPr>
          <p:cNvGrpSpPr/>
          <p:nvPr/>
        </p:nvGrpSpPr>
        <p:grpSpPr>
          <a:xfrm>
            <a:off x="305015" y="5706595"/>
            <a:ext cx="5438652" cy="845007"/>
            <a:chOff x="2171700" y="5543422"/>
            <a:chExt cx="4447036" cy="845007"/>
          </a:xfrm>
        </p:grpSpPr>
        <p:grpSp>
          <p:nvGrpSpPr>
            <p:cNvPr id="18" name="Gruppieren 800">
              <a:extLst>
                <a:ext uri="{FF2B5EF4-FFF2-40B4-BE49-F238E27FC236}">
                  <a16:creationId xmlns:a16="http://schemas.microsoft.com/office/drawing/2014/main" id="{EC734A4A-8577-1C79-E769-56CB5D04B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71827" y="6028429"/>
              <a:ext cx="360000" cy="360000"/>
              <a:chOff x="9568072" y="3858604"/>
              <a:chExt cx="328528" cy="328528"/>
            </a:xfrm>
            <a:solidFill>
              <a:schemeClr val="tx1"/>
            </a:solidFill>
          </p:grpSpPr>
          <p:sp>
            <p:nvSpPr>
              <p:cNvPr id="19" name="Freihandform 1788">
                <a:extLst>
                  <a:ext uri="{FF2B5EF4-FFF2-40B4-BE49-F238E27FC236}">
                    <a16:creationId xmlns:a16="http://schemas.microsoft.com/office/drawing/2014/main" id="{9DC931FD-5D7D-CB07-0B56-86A690556DFA}"/>
                  </a:ext>
                </a:extLst>
              </p:cNvPr>
              <p:cNvSpPr/>
              <p:nvPr/>
            </p:nvSpPr>
            <p:spPr>
              <a:xfrm>
                <a:off x="9568072" y="3858604"/>
                <a:ext cx="328528" cy="328528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412" h="1412">
                    <a:moveTo>
                      <a:pt x="705" y="1376"/>
                    </a:moveTo>
                    <a:cubicBezTo>
                      <a:pt x="336" y="1376"/>
                      <a:pt x="36" y="1075"/>
                      <a:pt x="36" y="705"/>
                    </a:cubicBezTo>
                    <a:cubicBezTo>
                      <a:pt x="36" y="337"/>
                      <a:pt x="336" y="36"/>
                      <a:pt x="705" y="36"/>
                    </a:cubicBezTo>
                    <a:cubicBezTo>
                      <a:pt x="1075" y="36"/>
                      <a:pt x="1376" y="337"/>
                      <a:pt x="1376" y="705"/>
                    </a:cubicBezTo>
                    <a:cubicBezTo>
                      <a:pt x="1376" y="1075"/>
                      <a:pt x="1075" y="1376"/>
                      <a:pt x="705" y="1376"/>
                    </a:cubicBezTo>
                    <a:close/>
                    <a:moveTo>
                      <a:pt x="705" y="0"/>
                    </a:moveTo>
                    <a:cubicBezTo>
                      <a:pt x="317" y="0"/>
                      <a:pt x="0" y="318"/>
                      <a:pt x="0" y="705"/>
                    </a:cubicBezTo>
                    <a:cubicBezTo>
                      <a:pt x="0" y="1094"/>
                      <a:pt x="317" y="1412"/>
                      <a:pt x="705" y="1412"/>
                    </a:cubicBezTo>
                    <a:cubicBezTo>
                      <a:pt x="1094" y="1412"/>
                      <a:pt x="1412" y="1094"/>
                      <a:pt x="1412" y="705"/>
                    </a:cubicBezTo>
                    <a:cubicBezTo>
                      <a:pt x="1412" y="318"/>
                      <a:pt x="1094" y="0"/>
                      <a:pt x="70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  <p:sp>
            <p:nvSpPr>
              <p:cNvPr id="20" name="Freihandform 1789">
                <a:extLst>
                  <a:ext uri="{FF2B5EF4-FFF2-40B4-BE49-F238E27FC236}">
                    <a16:creationId xmlns:a16="http://schemas.microsoft.com/office/drawing/2014/main" id="{7913AC35-FAE8-6E05-AF74-F6A17C82F261}"/>
                  </a:ext>
                </a:extLst>
              </p:cNvPr>
              <p:cNvSpPr/>
              <p:nvPr/>
            </p:nvSpPr>
            <p:spPr>
              <a:xfrm>
                <a:off x="9654221" y="3944986"/>
                <a:ext cx="155999" cy="155766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671" h="670">
                    <a:moveTo>
                      <a:pt x="635" y="607"/>
                    </a:moveTo>
                    <a:cubicBezTo>
                      <a:pt x="635" y="622"/>
                      <a:pt x="622" y="635"/>
                      <a:pt x="605" y="635"/>
                    </a:cubicBezTo>
                    <a:lnTo>
                      <a:pt x="64" y="635"/>
                    </a:lnTo>
                    <a:cubicBezTo>
                      <a:pt x="49" y="635"/>
                      <a:pt x="36" y="622"/>
                      <a:pt x="36" y="607"/>
                    </a:cubicBezTo>
                    <a:lnTo>
                      <a:pt x="36" y="63"/>
                    </a:lnTo>
                    <a:cubicBezTo>
                      <a:pt x="36" y="48"/>
                      <a:pt x="49" y="35"/>
                      <a:pt x="64" y="35"/>
                    </a:cubicBezTo>
                    <a:lnTo>
                      <a:pt x="605" y="35"/>
                    </a:lnTo>
                    <a:cubicBezTo>
                      <a:pt x="622" y="35"/>
                      <a:pt x="635" y="48"/>
                      <a:pt x="635" y="63"/>
                    </a:cubicBezTo>
                    <a:close/>
                    <a:moveTo>
                      <a:pt x="605" y="0"/>
                    </a:moveTo>
                    <a:lnTo>
                      <a:pt x="64" y="0"/>
                    </a:lnTo>
                    <a:cubicBezTo>
                      <a:pt x="30" y="0"/>
                      <a:pt x="0" y="27"/>
                      <a:pt x="0" y="63"/>
                    </a:cubicBezTo>
                    <a:lnTo>
                      <a:pt x="0" y="607"/>
                    </a:lnTo>
                    <a:cubicBezTo>
                      <a:pt x="0" y="641"/>
                      <a:pt x="30" y="670"/>
                      <a:pt x="64" y="670"/>
                    </a:cubicBezTo>
                    <a:lnTo>
                      <a:pt x="605" y="670"/>
                    </a:lnTo>
                    <a:cubicBezTo>
                      <a:pt x="641" y="670"/>
                      <a:pt x="671" y="641"/>
                      <a:pt x="671" y="607"/>
                    </a:cubicBezTo>
                    <a:lnTo>
                      <a:pt x="671" y="63"/>
                    </a:lnTo>
                    <a:cubicBezTo>
                      <a:pt x="671" y="27"/>
                      <a:pt x="641" y="0"/>
                      <a:pt x="60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  <p:sp>
            <p:nvSpPr>
              <p:cNvPr id="21" name="Freihandform 1790">
                <a:extLst>
                  <a:ext uri="{FF2B5EF4-FFF2-40B4-BE49-F238E27FC236}">
                    <a16:creationId xmlns:a16="http://schemas.microsoft.com/office/drawing/2014/main" id="{3B1BD4B2-1426-BB3A-F209-B0A71A9CE41B}"/>
                  </a:ext>
                </a:extLst>
              </p:cNvPr>
              <p:cNvSpPr/>
              <p:nvPr/>
            </p:nvSpPr>
            <p:spPr>
              <a:xfrm>
                <a:off x="9675874" y="4002030"/>
                <a:ext cx="30501" cy="78698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32" h="339">
                    <a:moveTo>
                      <a:pt x="96" y="303"/>
                    </a:moveTo>
                    <a:lnTo>
                      <a:pt x="36" y="303"/>
                    </a:lnTo>
                    <a:lnTo>
                      <a:pt x="36" y="36"/>
                    </a:lnTo>
                    <a:lnTo>
                      <a:pt x="96" y="36"/>
                    </a:lnTo>
                    <a:close/>
                    <a:moveTo>
                      <a:pt x="112" y="0"/>
                    </a:moveTo>
                    <a:lnTo>
                      <a:pt x="19" y="0"/>
                    </a:lnTo>
                    <a:cubicBezTo>
                      <a:pt x="9" y="0"/>
                      <a:pt x="0" y="9"/>
                      <a:pt x="0" y="17"/>
                    </a:cubicBezTo>
                    <a:lnTo>
                      <a:pt x="0" y="322"/>
                    </a:lnTo>
                    <a:cubicBezTo>
                      <a:pt x="0" y="330"/>
                      <a:pt x="9" y="339"/>
                      <a:pt x="19" y="339"/>
                    </a:cubicBezTo>
                    <a:lnTo>
                      <a:pt x="112" y="339"/>
                    </a:lnTo>
                    <a:cubicBezTo>
                      <a:pt x="123" y="339"/>
                      <a:pt x="132" y="330"/>
                      <a:pt x="132" y="322"/>
                    </a:cubicBezTo>
                    <a:lnTo>
                      <a:pt x="132" y="17"/>
                    </a:lnTo>
                    <a:cubicBezTo>
                      <a:pt x="132" y="9"/>
                      <a:pt x="123" y="0"/>
                      <a:pt x="1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  <p:sp>
            <p:nvSpPr>
              <p:cNvPr id="22" name="Freihandform 1791">
                <a:extLst>
                  <a:ext uri="{FF2B5EF4-FFF2-40B4-BE49-F238E27FC236}">
                    <a16:creationId xmlns:a16="http://schemas.microsoft.com/office/drawing/2014/main" id="{AE9A2BED-57F4-160E-6ACA-0DE2D92397DB}"/>
                  </a:ext>
                </a:extLst>
              </p:cNvPr>
              <p:cNvSpPr/>
              <p:nvPr/>
            </p:nvSpPr>
            <p:spPr>
              <a:xfrm>
                <a:off x="9674477" y="3965009"/>
                <a:ext cx="33295" cy="3376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44" h="146">
                    <a:moveTo>
                      <a:pt x="72" y="110"/>
                    </a:moveTo>
                    <a:cubicBezTo>
                      <a:pt x="51" y="110"/>
                      <a:pt x="36" y="93"/>
                      <a:pt x="36" y="72"/>
                    </a:cubicBezTo>
                    <a:cubicBezTo>
                      <a:pt x="36" y="53"/>
                      <a:pt x="51" y="36"/>
                      <a:pt x="72" y="36"/>
                    </a:cubicBezTo>
                    <a:cubicBezTo>
                      <a:pt x="93" y="36"/>
                      <a:pt x="110" y="53"/>
                      <a:pt x="110" y="72"/>
                    </a:cubicBezTo>
                    <a:cubicBezTo>
                      <a:pt x="110" y="93"/>
                      <a:pt x="93" y="110"/>
                      <a:pt x="72" y="110"/>
                    </a:cubicBezTo>
                    <a:close/>
                    <a:moveTo>
                      <a:pt x="72" y="0"/>
                    </a:moveTo>
                    <a:cubicBezTo>
                      <a:pt x="32" y="0"/>
                      <a:pt x="0" y="34"/>
                      <a:pt x="0" y="72"/>
                    </a:cubicBezTo>
                    <a:cubicBezTo>
                      <a:pt x="0" y="112"/>
                      <a:pt x="32" y="146"/>
                      <a:pt x="72" y="146"/>
                    </a:cubicBezTo>
                    <a:cubicBezTo>
                      <a:pt x="112" y="146"/>
                      <a:pt x="144" y="112"/>
                      <a:pt x="144" y="72"/>
                    </a:cubicBezTo>
                    <a:cubicBezTo>
                      <a:pt x="144" y="34"/>
                      <a:pt x="112" y="0"/>
                      <a:pt x="7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  <p:sp>
            <p:nvSpPr>
              <p:cNvPr id="23" name="Freihandform 1792">
                <a:extLst>
                  <a:ext uri="{FF2B5EF4-FFF2-40B4-BE49-F238E27FC236}">
                    <a16:creationId xmlns:a16="http://schemas.microsoft.com/office/drawing/2014/main" id="{A110680F-CAD4-A5D7-85AF-7B5B113AD5DA}"/>
                  </a:ext>
                </a:extLst>
              </p:cNvPr>
              <p:cNvSpPr/>
              <p:nvPr/>
            </p:nvSpPr>
            <p:spPr>
              <a:xfrm>
                <a:off x="9714292" y="4000167"/>
                <a:ext cx="76835" cy="8056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31" h="347">
                    <a:moveTo>
                      <a:pt x="295" y="311"/>
                    </a:moveTo>
                    <a:lnTo>
                      <a:pt x="235" y="311"/>
                    </a:lnTo>
                    <a:lnTo>
                      <a:pt x="235" y="182"/>
                    </a:lnTo>
                    <a:cubicBezTo>
                      <a:pt x="235" y="150"/>
                      <a:pt x="235" y="84"/>
                      <a:pt x="170" y="84"/>
                    </a:cubicBezTo>
                    <a:cubicBezTo>
                      <a:pt x="96" y="84"/>
                      <a:pt x="96" y="156"/>
                      <a:pt x="96" y="179"/>
                    </a:cubicBezTo>
                    <a:lnTo>
                      <a:pt x="96" y="311"/>
                    </a:lnTo>
                    <a:lnTo>
                      <a:pt x="36" y="311"/>
                    </a:lnTo>
                    <a:lnTo>
                      <a:pt x="36" y="44"/>
                    </a:lnTo>
                    <a:lnTo>
                      <a:pt x="91" y="44"/>
                    </a:lnTo>
                    <a:lnTo>
                      <a:pt x="91" y="67"/>
                    </a:lnTo>
                    <a:cubicBezTo>
                      <a:pt x="91" y="78"/>
                      <a:pt x="100" y="84"/>
                      <a:pt x="110" y="84"/>
                    </a:cubicBezTo>
                    <a:cubicBezTo>
                      <a:pt x="117" y="84"/>
                      <a:pt x="123" y="82"/>
                      <a:pt x="125" y="76"/>
                    </a:cubicBezTo>
                    <a:cubicBezTo>
                      <a:pt x="136" y="57"/>
                      <a:pt x="161" y="36"/>
                      <a:pt x="199" y="36"/>
                    </a:cubicBezTo>
                    <a:cubicBezTo>
                      <a:pt x="269" y="36"/>
                      <a:pt x="295" y="69"/>
                      <a:pt x="295" y="163"/>
                    </a:cubicBezTo>
                    <a:close/>
                    <a:moveTo>
                      <a:pt x="199" y="0"/>
                    </a:moveTo>
                    <a:cubicBezTo>
                      <a:pt x="170" y="0"/>
                      <a:pt x="144" y="10"/>
                      <a:pt x="127" y="23"/>
                    </a:cubicBezTo>
                    <a:cubicBezTo>
                      <a:pt x="125" y="14"/>
                      <a:pt x="117" y="8"/>
                      <a:pt x="108" y="8"/>
                    </a:cubicBezTo>
                    <a:lnTo>
                      <a:pt x="19" y="8"/>
                    </a:lnTo>
                    <a:cubicBezTo>
                      <a:pt x="9" y="8"/>
                      <a:pt x="0" y="17"/>
                      <a:pt x="0" y="25"/>
                    </a:cubicBezTo>
                    <a:lnTo>
                      <a:pt x="0" y="330"/>
                    </a:lnTo>
                    <a:cubicBezTo>
                      <a:pt x="0" y="338"/>
                      <a:pt x="9" y="347"/>
                      <a:pt x="19" y="347"/>
                    </a:cubicBezTo>
                    <a:lnTo>
                      <a:pt x="113" y="347"/>
                    </a:lnTo>
                    <a:cubicBezTo>
                      <a:pt x="123" y="347"/>
                      <a:pt x="129" y="338"/>
                      <a:pt x="129" y="330"/>
                    </a:cubicBezTo>
                    <a:lnTo>
                      <a:pt x="129" y="179"/>
                    </a:lnTo>
                    <a:cubicBezTo>
                      <a:pt x="129" y="129"/>
                      <a:pt x="144" y="118"/>
                      <a:pt x="170" y="118"/>
                    </a:cubicBezTo>
                    <a:cubicBezTo>
                      <a:pt x="193" y="118"/>
                      <a:pt x="201" y="133"/>
                      <a:pt x="201" y="182"/>
                    </a:cubicBezTo>
                    <a:lnTo>
                      <a:pt x="201" y="330"/>
                    </a:lnTo>
                    <a:cubicBezTo>
                      <a:pt x="201" y="338"/>
                      <a:pt x="208" y="347"/>
                      <a:pt x="218" y="347"/>
                    </a:cubicBezTo>
                    <a:lnTo>
                      <a:pt x="312" y="347"/>
                    </a:lnTo>
                    <a:cubicBezTo>
                      <a:pt x="322" y="347"/>
                      <a:pt x="331" y="338"/>
                      <a:pt x="331" y="330"/>
                    </a:cubicBezTo>
                    <a:lnTo>
                      <a:pt x="331" y="163"/>
                    </a:lnTo>
                    <a:cubicBezTo>
                      <a:pt x="331" y="86"/>
                      <a:pt x="316" y="0"/>
                      <a:pt x="1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527FF3C-22DA-229A-0257-8AD859339A4B}"/>
                </a:ext>
              </a:extLst>
            </p:cNvPr>
            <p:cNvGrpSpPr/>
            <p:nvPr/>
          </p:nvGrpSpPr>
          <p:grpSpPr>
            <a:xfrm>
              <a:off x="2171700" y="5543422"/>
              <a:ext cx="360000" cy="360000"/>
              <a:chOff x="6419856" y="5172166"/>
              <a:chExt cx="360000" cy="360000"/>
            </a:xfrm>
          </p:grpSpPr>
          <p:pic>
            <p:nvPicPr>
              <p:cNvPr id="13" name="Graphic 12">
                <a:extLst>
                  <a:ext uri="{FF2B5EF4-FFF2-40B4-BE49-F238E27FC236}">
                    <a16:creationId xmlns:a16="http://schemas.microsoft.com/office/drawing/2014/main" id="{78C1BDDE-5382-5426-5787-5BEB30C4C2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496974" y="5239229"/>
                <a:ext cx="205764" cy="225874"/>
              </a:xfrm>
              <a:prstGeom prst="rect">
                <a:avLst/>
              </a:prstGeom>
            </p:spPr>
          </p:pic>
          <p:sp>
            <p:nvSpPr>
              <p:cNvPr id="30" name="Freihandform 1788">
                <a:extLst>
                  <a:ext uri="{FF2B5EF4-FFF2-40B4-BE49-F238E27FC236}">
                    <a16:creationId xmlns:a16="http://schemas.microsoft.com/office/drawing/2014/main" id="{82B77900-469B-13E9-1A57-5169A643E279}"/>
                  </a:ext>
                </a:extLst>
              </p:cNvPr>
              <p:cNvSpPr/>
              <p:nvPr/>
            </p:nvSpPr>
            <p:spPr>
              <a:xfrm>
                <a:off x="6419856" y="5172166"/>
                <a:ext cx="360000" cy="36000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412" h="1412">
                    <a:moveTo>
                      <a:pt x="705" y="1376"/>
                    </a:moveTo>
                    <a:cubicBezTo>
                      <a:pt x="336" y="1376"/>
                      <a:pt x="36" y="1075"/>
                      <a:pt x="36" y="705"/>
                    </a:cubicBezTo>
                    <a:cubicBezTo>
                      <a:pt x="36" y="337"/>
                      <a:pt x="336" y="36"/>
                      <a:pt x="705" y="36"/>
                    </a:cubicBezTo>
                    <a:cubicBezTo>
                      <a:pt x="1075" y="36"/>
                      <a:pt x="1376" y="337"/>
                      <a:pt x="1376" y="705"/>
                    </a:cubicBezTo>
                    <a:cubicBezTo>
                      <a:pt x="1376" y="1075"/>
                      <a:pt x="1075" y="1376"/>
                      <a:pt x="705" y="1376"/>
                    </a:cubicBezTo>
                    <a:close/>
                    <a:moveTo>
                      <a:pt x="705" y="0"/>
                    </a:moveTo>
                    <a:cubicBezTo>
                      <a:pt x="317" y="0"/>
                      <a:pt x="0" y="318"/>
                      <a:pt x="0" y="705"/>
                    </a:cubicBezTo>
                    <a:cubicBezTo>
                      <a:pt x="0" y="1094"/>
                      <a:pt x="317" y="1412"/>
                      <a:pt x="705" y="1412"/>
                    </a:cubicBezTo>
                    <a:cubicBezTo>
                      <a:pt x="1094" y="1412"/>
                      <a:pt x="1412" y="1094"/>
                      <a:pt x="1412" y="705"/>
                    </a:cubicBezTo>
                    <a:cubicBezTo>
                      <a:pt x="1412" y="318"/>
                      <a:pt x="1094" y="0"/>
                      <a:pt x="70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cap="flat">
                <a:noFill/>
                <a:prstDash val="solid"/>
              </a:ln>
            </p:spPr>
            <p:txBody>
              <a:bodyPr vert="horz" wrap="none" lIns="95246" tIns="47623" rIns="95246" bIns="47623" anchor="ctr" anchorCtr="1" compatLnSpc="0"/>
              <a:lstStyle/>
              <a:p>
                <a:pPr marL="0" marR="0" lvl="0" indent="0" algn="l" defTabSz="6096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905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Arial"/>
                  <a:ea typeface="Arial Unicode MS" pitchFamily="2"/>
                  <a:cs typeface="Arial Unicode MS" pitchFamily="2"/>
                  <a:sym typeface="Arial"/>
                </a:endParaRPr>
              </a:p>
            </p:txBody>
          </p:sp>
        </p:grpSp>
        <p:sp>
          <p:nvSpPr>
            <p:cNvPr id="35" name="Flowchart: Process 34">
              <a:extLst>
                <a:ext uri="{FF2B5EF4-FFF2-40B4-BE49-F238E27FC236}">
                  <a16:creationId xmlns:a16="http://schemas.microsoft.com/office/drawing/2014/main" id="{959BF918-68FA-C60E-E934-29F23CE83143}"/>
                </a:ext>
              </a:extLst>
            </p:cNvPr>
            <p:cNvSpPr/>
            <p:nvPr/>
          </p:nvSpPr>
          <p:spPr>
            <a:xfrm>
              <a:off x="2668771" y="5600314"/>
              <a:ext cx="3949965" cy="246221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sng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ainer</a:t>
              </a:r>
              <a:r>
                <a:rPr kumimoji="0" lang="en-GB" sz="1600" b="0" i="0" u="sng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@heartprint.eu</a:t>
              </a:r>
            </a:p>
          </p:txBody>
        </p:sp>
        <p:sp>
          <p:nvSpPr>
            <p:cNvPr id="36" name="Flowchart: Process 35">
              <a:extLst>
                <a:ext uri="{FF2B5EF4-FFF2-40B4-BE49-F238E27FC236}">
                  <a16:creationId xmlns:a16="http://schemas.microsoft.com/office/drawing/2014/main" id="{1383F05B-1A0E-A057-F925-87C3687E8FCB}"/>
                </a:ext>
              </a:extLst>
            </p:cNvPr>
            <p:cNvSpPr/>
            <p:nvPr/>
          </p:nvSpPr>
          <p:spPr>
            <a:xfrm>
              <a:off x="2668770" y="6085320"/>
              <a:ext cx="3781425" cy="246221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sng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linkedin.com/in/rainerkarcher/</a:t>
              </a:r>
              <a:endParaRPr kumimoji="0" lang="en-GB" sz="1600" b="0" i="0" u="sng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CF01775-1640-48B6-4129-27F6FFF3A974}"/>
              </a:ext>
            </a:extLst>
          </p:cNvPr>
          <p:cNvGrpSpPr/>
          <p:nvPr/>
        </p:nvGrpSpPr>
        <p:grpSpPr>
          <a:xfrm>
            <a:off x="305015" y="2029704"/>
            <a:ext cx="3384417" cy="1958101"/>
            <a:chOff x="2854406" y="2867696"/>
            <a:chExt cx="3384417" cy="19581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832328-20E2-2563-A881-5352AFCF024A}"/>
                </a:ext>
              </a:extLst>
            </p:cNvPr>
            <p:cNvSpPr/>
            <p:nvPr/>
          </p:nvSpPr>
          <p:spPr>
            <a:xfrm>
              <a:off x="2854406" y="3256137"/>
              <a:ext cx="3384417" cy="156965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Heartprint GmbH</a:t>
              </a:r>
            </a:p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Founder &amp; CEO</a:t>
              </a:r>
              <a:endPara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endParaRPr>
            </a:p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endParaRPr>
            </a:p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SustainableIT.org</a:t>
              </a:r>
              <a:br>
                <a:rPr kumimoji="0" lang="en-GB" sz="14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4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Chief Sustainability Officer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95CE708-AB96-ED61-B968-8AF58D5179B9}"/>
                </a:ext>
              </a:extLst>
            </p:cNvPr>
            <p:cNvSpPr/>
            <p:nvPr/>
          </p:nvSpPr>
          <p:spPr>
            <a:xfrm>
              <a:off x="2854406" y="2867696"/>
              <a:ext cx="2134993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Rainer Karcher</a:t>
              </a: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ABDBED74-B291-4B4E-1077-068D894101A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9396" y="2671665"/>
            <a:ext cx="1914665" cy="1914665"/>
          </a:xfrm>
          <a:prstGeom prst="rect">
            <a:avLst/>
          </a:prstGeom>
        </p:spPr>
      </p:pic>
      <p:sp>
        <p:nvSpPr>
          <p:cNvPr id="10" name="Flowchart: Process 35">
            <a:extLst>
              <a:ext uri="{FF2B5EF4-FFF2-40B4-BE49-F238E27FC236}">
                <a16:creationId xmlns:a16="http://schemas.microsoft.com/office/drawing/2014/main" id="{FD4C094C-142D-DC48-21EE-42188BA29536}"/>
              </a:ext>
            </a:extLst>
          </p:cNvPr>
          <p:cNvSpPr/>
          <p:nvPr/>
        </p:nvSpPr>
        <p:spPr>
          <a:xfrm>
            <a:off x="5023281" y="4732570"/>
            <a:ext cx="1917006" cy="430887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lvl="0" algn="ctr" defTabSz="609630">
              <a:buClr>
                <a:srgbClr val="000000"/>
              </a:buClr>
              <a:defRPr/>
            </a:pPr>
            <a:r>
              <a:rPr lang="en-GB" sz="1400" i="1" kern="0" noProof="1">
                <a:solidFill>
                  <a:srgbClr val="F8F6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THE podcast about transformation</a:t>
            </a:r>
            <a:endParaRPr kumimoji="0" lang="en-GB" sz="1400" b="0" i="1" u="none" strike="noStrike" kern="0" cap="none" spc="0" normalizeH="0" baseline="0" noProof="1">
              <a:ln>
                <a:noFill/>
              </a:ln>
              <a:solidFill>
                <a:srgbClr val="F8F6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33" name="Freihandform 32">
            <a:extLst>
              <a:ext uri="{FF2B5EF4-FFF2-40B4-BE49-F238E27FC236}">
                <a16:creationId xmlns:a16="http://schemas.microsoft.com/office/drawing/2014/main" id="{0251FC55-DAB6-FF37-E2FA-FF4CB4E28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21029">
            <a:off x="9424006" y="727869"/>
            <a:ext cx="5321011" cy="5402260"/>
          </a:xfrm>
          <a:custGeom>
            <a:avLst/>
            <a:gdLst>
              <a:gd name="connsiteX0" fmla="*/ 212953 w 5321011"/>
              <a:gd name="connsiteY0" fmla="*/ 5402260 h 5402260"/>
              <a:gd name="connsiteX1" fmla="*/ 163956 w 5321011"/>
              <a:gd name="connsiteY1" fmla="*/ 5336737 h 5402260"/>
              <a:gd name="connsiteX2" fmla="*/ 0 w 5321011"/>
              <a:gd name="connsiteY2" fmla="*/ 4799981 h 5402260"/>
              <a:gd name="connsiteX3" fmla="*/ 0 w 5321011"/>
              <a:gd name="connsiteY3" fmla="*/ 960019 h 5402260"/>
              <a:gd name="connsiteX4" fmla="*/ 960019 w 5321011"/>
              <a:gd name="connsiteY4" fmla="*/ 0 h 5402260"/>
              <a:gd name="connsiteX5" fmla="*/ 4799981 w 5321011"/>
              <a:gd name="connsiteY5" fmla="*/ 0 h 5402260"/>
              <a:gd name="connsiteX6" fmla="*/ 5257583 w 5321011"/>
              <a:gd name="connsiteY6" fmla="*/ 115869 h 5402260"/>
              <a:gd name="connsiteX7" fmla="*/ 5321011 w 5321011"/>
              <a:gd name="connsiteY7" fmla="*/ 154402 h 5402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1011" h="5402260">
                <a:moveTo>
                  <a:pt x="212953" y="5402260"/>
                </a:moveTo>
                <a:lnTo>
                  <a:pt x="163956" y="5336737"/>
                </a:lnTo>
                <a:cubicBezTo>
                  <a:pt x="60443" y="5183517"/>
                  <a:pt x="0" y="4998807"/>
                  <a:pt x="0" y="4799981"/>
                </a:cubicBezTo>
                <a:lnTo>
                  <a:pt x="0" y="960019"/>
                </a:lnTo>
                <a:cubicBezTo>
                  <a:pt x="0" y="429815"/>
                  <a:pt x="429815" y="0"/>
                  <a:pt x="960019" y="0"/>
                </a:cubicBezTo>
                <a:lnTo>
                  <a:pt x="4799981" y="0"/>
                </a:lnTo>
                <a:cubicBezTo>
                  <a:pt x="4965670" y="0"/>
                  <a:pt x="5121555" y="41974"/>
                  <a:pt x="5257583" y="115869"/>
                </a:cubicBezTo>
                <a:lnTo>
                  <a:pt x="5321011" y="1544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8F6F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4" name="Group 5">
            <a:extLst>
              <a:ext uri="{FF2B5EF4-FFF2-40B4-BE49-F238E27FC236}">
                <a16:creationId xmlns:a16="http://schemas.microsoft.com/office/drawing/2014/main" id="{3BE26A14-5D53-9E1F-741A-DD2DC780B7BB}"/>
              </a:ext>
            </a:extLst>
          </p:cNvPr>
          <p:cNvGrpSpPr/>
          <p:nvPr/>
        </p:nvGrpSpPr>
        <p:grpSpPr>
          <a:xfrm>
            <a:off x="9717327" y="2168204"/>
            <a:ext cx="3384417" cy="2409507"/>
            <a:chOff x="2854406" y="2867696"/>
            <a:chExt cx="3384417" cy="2409506"/>
          </a:xfrm>
        </p:grpSpPr>
        <p:sp>
          <p:nvSpPr>
            <p:cNvPr id="37" name="Rectangle 6">
              <a:extLst>
                <a:ext uri="{FF2B5EF4-FFF2-40B4-BE49-F238E27FC236}">
                  <a16:creationId xmlns:a16="http://schemas.microsoft.com/office/drawing/2014/main" id="{739D3A6C-B735-E012-1745-A47DD55B7B56}"/>
                </a:ext>
              </a:extLst>
            </p:cNvPr>
            <p:cNvSpPr/>
            <p:nvPr/>
          </p:nvSpPr>
          <p:spPr>
            <a:xfrm>
              <a:off x="2854406" y="3256137"/>
              <a:ext cx="3384417" cy="20210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Berufliche Hochschule</a:t>
              </a: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Hamburg</a:t>
              </a: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Prof. Applied Computer </a:t>
              </a: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Science</a:t>
              </a: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b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</a:br>
              <a:r>
                <a:rPr kumimoji="0" lang="en-GB" sz="1600" b="0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Education Enthusiast</a:t>
              </a:r>
              <a:endPara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endParaRPr>
            </a:p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endParaRPr>
            </a:p>
          </p:txBody>
        </p:sp>
        <p:sp>
          <p:nvSpPr>
            <p:cNvPr id="38" name="Rectangle 23">
              <a:extLst>
                <a:ext uri="{FF2B5EF4-FFF2-40B4-BE49-F238E27FC236}">
                  <a16:creationId xmlns:a16="http://schemas.microsoft.com/office/drawing/2014/main" id="{DFFCFE8C-3962-0736-E6C9-CA98C9BBC06D}"/>
                </a:ext>
              </a:extLst>
            </p:cNvPr>
            <p:cNvSpPr/>
            <p:nvPr/>
          </p:nvSpPr>
          <p:spPr>
            <a:xfrm>
              <a:off x="2854406" y="2867696"/>
              <a:ext cx="2134993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1">
                  <a:ln>
                    <a:noFill/>
                  </a:ln>
                  <a:solidFill>
                    <a:srgbClr val="F8F6F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Henning Klaffke</a:t>
              </a:r>
            </a:p>
          </p:txBody>
        </p:sp>
      </p:grpSp>
      <p:grpSp>
        <p:nvGrpSpPr>
          <p:cNvPr id="14" name="Gruppieren 800">
            <a:extLst>
              <a:ext uri="{FF2B5EF4-FFF2-40B4-BE49-F238E27FC236}">
                <a16:creationId xmlns:a16="http://schemas.microsoft.com/office/drawing/2014/main" id="{8FF364D5-E127-3925-1942-F7946184A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11666693" y="6134714"/>
            <a:ext cx="440274" cy="360000"/>
            <a:chOff x="9568067" y="3858604"/>
            <a:chExt cx="328528" cy="328528"/>
          </a:xfrm>
          <a:solidFill>
            <a:schemeClr val="tx1"/>
          </a:solidFill>
        </p:grpSpPr>
        <p:sp>
          <p:nvSpPr>
            <p:cNvPr id="27" name="Freihandform 1788">
              <a:extLst>
                <a:ext uri="{FF2B5EF4-FFF2-40B4-BE49-F238E27FC236}">
                  <a16:creationId xmlns:a16="http://schemas.microsoft.com/office/drawing/2014/main" id="{80464DD0-78ED-2F57-5152-3C2D2FC3C37B}"/>
                </a:ext>
              </a:extLst>
            </p:cNvPr>
            <p:cNvSpPr/>
            <p:nvPr/>
          </p:nvSpPr>
          <p:spPr>
            <a:xfrm>
              <a:off x="9568067" y="3858604"/>
              <a:ext cx="328528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2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6" y="337"/>
                    <a:pt x="1376" y="705"/>
                  </a:cubicBezTo>
                  <a:cubicBezTo>
                    <a:pt x="1376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2" y="1094"/>
                    <a:pt x="1412" y="705"/>
                  </a:cubicBezTo>
                  <a:cubicBezTo>
                    <a:pt x="1412" y="318"/>
                    <a:pt x="1094" y="0"/>
                    <a:pt x="705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  <p:sp>
          <p:nvSpPr>
            <p:cNvPr id="28" name="Freihandform 1789">
              <a:extLst>
                <a:ext uri="{FF2B5EF4-FFF2-40B4-BE49-F238E27FC236}">
                  <a16:creationId xmlns:a16="http://schemas.microsoft.com/office/drawing/2014/main" id="{BFC7E944-83A3-CB17-341E-5B73CE4957E8}"/>
                </a:ext>
              </a:extLst>
            </p:cNvPr>
            <p:cNvSpPr/>
            <p:nvPr/>
          </p:nvSpPr>
          <p:spPr>
            <a:xfrm>
              <a:off x="9654221" y="3944986"/>
              <a:ext cx="155999" cy="155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1" h="670">
                  <a:moveTo>
                    <a:pt x="635" y="607"/>
                  </a:moveTo>
                  <a:cubicBezTo>
                    <a:pt x="635" y="622"/>
                    <a:pt x="622" y="635"/>
                    <a:pt x="605" y="635"/>
                  </a:cubicBezTo>
                  <a:lnTo>
                    <a:pt x="64" y="635"/>
                  </a:lnTo>
                  <a:cubicBezTo>
                    <a:pt x="49" y="635"/>
                    <a:pt x="36" y="622"/>
                    <a:pt x="36" y="607"/>
                  </a:cubicBezTo>
                  <a:lnTo>
                    <a:pt x="36" y="63"/>
                  </a:lnTo>
                  <a:cubicBezTo>
                    <a:pt x="36" y="48"/>
                    <a:pt x="49" y="35"/>
                    <a:pt x="64" y="35"/>
                  </a:cubicBezTo>
                  <a:lnTo>
                    <a:pt x="605" y="35"/>
                  </a:lnTo>
                  <a:cubicBezTo>
                    <a:pt x="622" y="35"/>
                    <a:pt x="635" y="48"/>
                    <a:pt x="635" y="63"/>
                  </a:cubicBezTo>
                  <a:close/>
                  <a:moveTo>
                    <a:pt x="605" y="0"/>
                  </a:moveTo>
                  <a:lnTo>
                    <a:pt x="64" y="0"/>
                  </a:lnTo>
                  <a:cubicBezTo>
                    <a:pt x="30" y="0"/>
                    <a:pt x="0" y="27"/>
                    <a:pt x="0" y="63"/>
                  </a:cubicBezTo>
                  <a:lnTo>
                    <a:pt x="0" y="607"/>
                  </a:lnTo>
                  <a:cubicBezTo>
                    <a:pt x="0" y="641"/>
                    <a:pt x="30" y="670"/>
                    <a:pt x="64" y="670"/>
                  </a:cubicBezTo>
                  <a:lnTo>
                    <a:pt x="605" y="670"/>
                  </a:lnTo>
                  <a:cubicBezTo>
                    <a:pt x="641" y="670"/>
                    <a:pt x="671" y="641"/>
                    <a:pt x="671" y="607"/>
                  </a:cubicBezTo>
                  <a:lnTo>
                    <a:pt x="671" y="63"/>
                  </a:lnTo>
                  <a:cubicBezTo>
                    <a:pt x="671" y="27"/>
                    <a:pt x="641" y="0"/>
                    <a:pt x="605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  <p:sp>
          <p:nvSpPr>
            <p:cNvPr id="29" name="Freihandform 1790">
              <a:extLst>
                <a:ext uri="{FF2B5EF4-FFF2-40B4-BE49-F238E27FC236}">
                  <a16:creationId xmlns:a16="http://schemas.microsoft.com/office/drawing/2014/main" id="{B166DC82-8B9A-5504-A2C7-FF0E49FDFB94}"/>
                </a:ext>
              </a:extLst>
            </p:cNvPr>
            <p:cNvSpPr/>
            <p:nvPr/>
          </p:nvSpPr>
          <p:spPr>
            <a:xfrm>
              <a:off x="9675874" y="4002030"/>
              <a:ext cx="30501" cy="786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339">
                  <a:moveTo>
                    <a:pt x="96" y="303"/>
                  </a:moveTo>
                  <a:lnTo>
                    <a:pt x="36" y="303"/>
                  </a:lnTo>
                  <a:lnTo>
                    <a:pt x="36" y="36"/>
                  </a:lnTo>
                  <a:lnTo>
                    <a:pt x="96" y="36"/>
                  </a:lnTo>
                  <a:close/>
                  <a:moveTo>
                    <a:pt x="112" y="0"/>
                  </a:moveTo>
                  <a:lnTo>
                    <a:pt x="19" y="0"/>
                  </a:lnTo>
                  <a:cubicBezTo>
                    <a:pt x="9" y="0"/>
                    <a:pt x="0" y="9"/>
                    <a:pt x="0" y="17"/>
                  </a:cubicBezTo>
                  <a:lnTo>
                    <a:pt x="0" y="322"/>
                  </a:lnTo>
                  <a:cubicBezTo>
                    <a:pt x="0" y="330"/>
                    <a:pt x="9" y="339"/>
                    <a:pt x="19" y="339"/>
                  </a:cubicBezTo>
                  <a:lnTo>
                    <a:pt x="112" y="339"/>
                  </a:lnTo>
                  <a:cubicBezTo>
                    <a:pt x="123" y="339"/>
                    <a:pt x="132" y="330"/>
                    <a:pt x="132" y="322"/>
                  </a:cubicBezTo>
                  <a:lnTo>
                    <a:pt x="132" y="17"/>
                  </a:lnTo>
                  <a:cubicBezTo>
                    <a:pt x="132" y="9"/>
                    <a:pt x="123" y="0"/>
                    <a:pt x="112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  <p:sp>
          <p:nvSpPr>
            <p:cNvPr id="31" name="Freihandform 1791">
              <a:extLst>
                <a:ext uri="{FF2B5EF4-FFF2-40B4-BE49-F238E27FC236}">
                  <a16:creationId xmlns:a16="http://schemas.microsoft.com/office/drawing/2014/main" id="{4EF80137-DF45-B2EF-FAB5-05584C3A3380}"/>
                </a:ext>
              </a:extLst>
            </p:cNvPr>
            <p:cNvSpPr/>
            <p:nvPr/>
          </p:nvSpPr>
          <p:spPr>
            <a:xfrm>
              <a:off x="9674477" y="3965009"/>
              <a:ext cx="33295" cy="337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146">
                  <a:moveTo>
                    <a:pt x="72" y="110"/>
                  </a:moveTo>
                  <a:cubicBezTo>
                    <a:pt x="51" y="110"/>
                    <a:pt x="36" y="93"/>
                    <a:pt x="36" y="72"/>
                  </a:cubicBezTo>
                  <a:cubicBezTo>
                    <a:pt x="36" y="53"/>
                    <a:pt x="51" y="36"/>
                    <a:pt x="72" y="36"/>
                  </a:cubicBezTo>
                  <a:cubicBezTo>
                    <a:pt x="93" y="36"/>
                    <a:pt x="110" y="53"/>
                    <a:pt x="110" y="72"/>
                  </a:cubicBezTo>
                  <a:cubicBezTo>
                    <a:pt x="110" y="93"/>
                    <a:pt x="93" y="110"/>
                    <a:pt x="72" y="110"/>
                  </a:cubicBezTo>
                  <a:close/>
                  <a:moveTo>
                    <a:pt x="72" y="0"/>
                  </a:moveTo>
                  <a:cubicBezTo>
                    <a:pt x="32" y="0"/>
                    <a:pt x="0" y="34"/>
                    <a:pt x="0" y="72"/>
                  </a:cubicBezTo>
                  <a:cubicBezTo>
                    <a:pt x="0" y="112"/>
                    <a:pt x="32" y="146"/>
                    <a:pt x="72" y="146"/>
                  </a:cubicBezTo>
                  <a:cubicBezTo>
                    <a:pt x="112" y="146"/>
                    <a:pt x="144" y="112"/>
                    <a:pt x="144" y="72"/>
                  </a:cubicBezTo>
                  <a:cubicBezTo>
                    <a:pt x="144" y="34"/>
                    <a:pt x="112" y="0"/>
                    <a:pt x="72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  <p:sp>
          <p:nvSpPr>
            <p:cNvPr id="32" name="Freihandform 1792">
              <a:extLst>
                <a:ext uri="{FF2B5EF4-FFF2-40B4-BE49-F238E27FC236}">
                  <a16:creationId xmlns:a16="http://schemas.microsoft.com/office/drawing/2014/main" id="{00FF15DC-C842-B5C4-39CA-B20EAD340450}"/>
                </a:ext>
              </a:extLst>
            </p:cNvPr>
            <p:cNvSpPr/>
            <p:nvPr/>
          </p:nvSpPr>
          <p:spPr>
            <a:xfrm>
              <a:off x="9714292" y="4000167"/>
              <a:ext cx="76835" cy="805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1" h="347">
                  <a:moveTo>
                    <a:pt x="295" y="311"/>
                  </a:moveTo>
                  <a:lnTo>
                    <a:pt x="235" y="311"/>
                  </a:lnTo>
                  <a:lnTo>
                    <a:pt x="235" y="182"/>
                  </a:lnTo>
                  <a:cubicBezTo>
                    <a:pt x="235" y="150"/>
                    <a:pt x="235" y="84"/>
                    <a:pt x="170" y="84"/>
                  </a:cubicBezTo>
                  <a:cubicBezTo>
                    <a:pt x="96" y="84"/>
                    <a:pt x="96" y="156"/>
                    <a:pt x="96" y="179"/>
                  </a:cubicBezTo>
                  <a:lnTo>
                    <a:pt x="96" y="311"/>
                  </a:lnTo>
                  <a:lnTo>
                    <a:pt x="36" y="311"/>
                  </a:lnTo>
                  <a:lnTo>
                    <a:pt x="36" y="44"/>
                  </a:lnTo>
                  <a:lnTo>
                    <a:pt x="91" y="44"/>
                  </a:lnTo>
                  <a:lnTo>
                    <a:pt x="91" y="67"/>
                  </a:lnTo>
                  <a:cubicBezTo>
                    <a:pt x="91" y="78"/>
                    <a:pt x="100" y="84"/>
                    <a:pt x="110" y="84"/>
                  </a:cubicBezTo>
                  <a:cubicBezTo>
                    <a:pt x="117" y="84"/>
                    <a:pt x="123" y="82"/>
                    <a:pt x="125" y="76"/>
                  </a:cubicBezTo>
                  <a:cubicBezTo>
                    <a:pt x="136" y="57"/>
                    <a:pt x="161" y="36"/>
                    <a:pt x="199" y="36"/>
                  </a:cubicBezTo>
                  <a:cubicBezTo>
                    <a:pt x="269" y="36"/>
                    <a:pt x="295" y="69"/>
                    <a:pt x="295" y="163"/>
                  </a:cubicBezTo>
                  <a:close/>
                  <a:moveTo>
                    <a:pt x="199" y="0"/>
                  </a:moveTo>
                  <a:cubicBezTo>
                    <a:pt x="170" y="0"/>
                    <a:pt x="144" y="10"/>
                    <a:pt x="127" y="23"/>
                  </a:cubicBezTo>
                  <a:cubicBezTo>
                    <a:pt x="125" y="14"/>
                    <a:pt x="117" y="8"/>
                    <a:pt x="108" y="8"/>
                  </a:cubicBezTo>
                  <a:lnTo>
                    <a:pt x="19" y="8"/>
                  </a:lnTo>
                  <a:cubicBezTo>
                    <a:pt x="9" y="8"/>
                    <a:pt x="0" y="17"/>
                    <a:pt x="0" y="25"/>
                  </a:cubicBezTo>
                  <a:lnTo>
                    <a:pt x="0" y="330"/>
                  </a:lnTo>
                  <a:cubicBezTo>
                    <a:pt x="0" y="338"/>
                    <a:pt x="9" y="347"/>
                    <a:pt x="19" y="347"/>
                  </a:cubicBezTo>
                  <a:lnTo>
                    <a:pt x="113" y="347"/>
                  </a:lnTo>
                  <a:cubicBezTo>
                    <a:pt x="123" y="347"/>
                    <a:pt x="129" y="338"/>
                    <a:pt x="129" y="330"/>
                  </a:cubicBezTo>
                  <a:lnTo>
                    <a:pt x="129" y="179"/>
                  </a:lnTo>
                  <a:cubicBezTo>
                    <a:pt x="129" y="129"/>
                    <a:pt x="144" y="118"/>
                    <a:pt x="170" y="118"/>
                  </a:cubicBezTo>
                  <a:cubicBezTo>
                    <a:pt x="193" y="118"/>
                    <a:pt x="201" y="133"/>
                    <a:pt x="201" y="182"/>
                  </a:cubicBezTo>
                  <a:lnTo>
                    <a:pt x="201" y="330"/>
                  </a:lnTo>
                  <a:cubicBezTo>
                    <a:pt x="201" y="338"/>
                    <a:pt x="208" y="347"/>
                    <a:pt x="218" y="347"/>
                  </a:cubicBezTo>
                  <a:lnTo>
                    <a:pt x="312" y="347"/>
                  </a:lnTo>
                  <a:cubicBezTo>
                    <a:pt x="322" y="347"/>
                    <a:pt x="331" y="338"/>
                    <a:pt x="331" y="330"/>
                  </a:cubicBezTo>
                  <a:lnTo>
                    <a:pt x="331" y="163"/>
                  </a:lnTo>
                  <a:cubicBezTo>
                    <a:pt x="331" y="86"/>
                    <a:pt x="316" y="0"/>
                    <a:pt x="199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</p:grpSp>
      <p:grpSp>
        <p:nvGrpSpPr>
          <p:cNvPr id="15" name="Group 1">
            <a:extLst>
              <a:ext uri="{FF2B5EF4-FFF2-40B4-BE49-F238E27FC236}">
                <a16:creationId xmlns:a16="http://schemas.microsoft.com/office/drawing/2014/main" id="{1E65C5D9-4D04-247E-C487-4E2BF6378BAB}"/>
              </a:ext>
            </a:extLst>
          </p:cNvPr>
          <p:cNvGrpSpPr/>
          <p:nvPr/>
        </p:nvGrpSpPr>
        <p:grpSpPr>
          <a:xfrm>
            <a:off x="11689004" y="5649707"/>
            <a:ext cx="440274" cy="360000"/>
            <a:chOff x="10455606" y="5172166"/>
            <a:chExt cx="360000" cy="360000"/>
          </a:xfrm>
        </p:grpSpPr>
        <p:pic>
          <p:nvPicPr>
            <p:cNvPr id="25" name="Graphic 12">
              <a:extLst>
                <a:ext uri="{FF2B5EF4-FFF2-40B4-BE49-F238E27FC236}">
                  <a16:creationId xmlns:a16="http://schemas.microsoft.com/office/drawing/2014/main" id="{093A7662-FC2F-F8F6-6216-19797F4AD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532724" y="5239229"/>
              <a:ext cx="205764" cy="225874"/>
            </a:xfrm>
            <a:prstGeom prst="rect">
              <a:avLst/>
            </a:prstGeom>
          </p:spPr>
        </p:pic>
        <p:sp>
          <p:nvSpPr>
            <p:cNvPr id="26" name="Freihandform 1788">
              <a:extLst>
                <a:ext uri="{FF2B5EF4-FFF2-40B4-BE49-F238E27FC236}">
                  <a16:creationId xmlns:a16="http://schemas.microsoft.com/office/drawing/2014/main" id="{AB4371A5-A5CD-5577-D2E7-91B641C2DA39}"/>
                </a:ext>
              </a:extLst>
            </p:cNvPr>
            <p:cNvSpPr/>
            <p:nvPr/>
          </p:nvSpPr>
          <p:spPr>
            <a:xfrm>
              <a:off x="10455606" y="5172166"/>
              <a:ext cx="360000" cy="360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2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6" y="337"/>
                    <a:pt x="1376" y="705"/>
                  </a:cubicBezTo>
                  <a:cubicBezTo>
                    <a:pt x="1376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2" y="1094"/>
                    <a:pt x="1412" y="705"/>
                  </a:cubicBezTo>
                  <a:cubicBezTo>
                    <a:pt x="1412" y="318"/>
                    <a:pt x="1094" y="0"/>
                    <a:pt x="705" y="0"/>
                  </a:cubicBezTo>
                  <a:close/>
                </a:path>
              </a:pathLst>
            </a:cu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marL="0" marR="0" lvl="0" indent="0" algn="r" defTabSz="60963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905" b="0" i="0" u="none" strike="noStrike" kern="0" cap="none" spc="0" normalizeH="0" baseline="0" noProof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Arial"/>
                <a:ea typeface="Arial Unicode MS" pitchFamily="2"/>
                <a:cs typeface="Arial Unicode MS" pitchFamily="2"/>
                <a:sym typeface="Arial"/>
              </a:endParaRPr>
            </a:p>
          </p:txBody>
        </p:sp>
      </p:grpSp>
      <p:sp>
        <p:nvSpPr>
          <p:cNvPr id="16" name="Flowchart: Process 34">
            <a:extLst>
              <a:ext uri="{FF2B5EF4-FFF2-40B4-BE49-F238E27FC236}">
                <a16:creationId xmlns:a16="http://schemas.microsoft.com/office/drawing/2014/main" id="{A0531032-5232-227C-81F8-2DFAE83F80DF}"/>
              </a:ext>
            </a:extLst>
          </p:cNvPr>
          <p:cNvSpPr/>
          <p:nvPr/>
        </p:nvSpPr>
        <p:spPr>
          <a:xfrm>
            <a:off x="6716064" y="5763484"/>
            <a:ext cx="4830742" cy="246221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lvl="0" algn="r" defTabSz="609630">
              <a:buClr>
                <a:srgbClr val="000000"/>
              </a:buClr>
              <a:defRPr/>
            </a:pPr>
            <a:r>
              <a:rPr lang="en-GB" sz="1600" u="sng" kern="0" noProof="1">
                <a:solidFill>
                  <a:srgbClr val="F8F6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henning.klaffke@bhh.hamburg.de</a:t>
            </a:r>
            <a:endParaRPr kumimoji="0" lang="en-GB" sz="1600" b="0" i="0" u="sng" strike="noStrike" kern="0" cap="none" spc="0" normalizeH="0" baseline="0" noProof="1">
              <a:ln>
                <a:noFill/>
              </a:ln>
              <a:solidFill>
                <a:srgbClr val="F8F6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7" name="Flowchart: Process 35">
            <a:extLst>
              <a:ext uri="{FF2B5EF4-FFF2-40B4-BE49-F238E27FC236}">
                <a16:creationId xmlns:a16="http://schemas.microsoft.com/office/drawing/2014/main" id="{F0FAC56F-B220-4D71-F86C-C4FCAAC78F0F}"/>
              </a:ext>
            </a:extLst>
          </p:cNvPr>
          <p:cNvSpPr/>
          <p:nvPr/>
        </p:nvSpPr>
        <p:spPr>
          <a:xfrm>
            <a:off x="5970799" y="6248491"/>
            <a:ext cx="5556728" cy="246221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lvl="0" algn="r" defTabSz="609630">
              <a:buClr>
                <a:srgbClr val="000000"/>
              </a:buClr>
              <a:defRPr/>
            </a:pPr>
            <a:r>
              <a:rPr lang="en-GB" sz="1600" u="sng" kern="0" noProof="1">
                <a:solidFill>
                  <a:srgbClr val="F8F6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t>https://www.linkedin.com/in/prof-dr-henning-klaffke/</a:t>
            </a:r>
            <a:endParaRPr kumimoji="0" lang="en-GB" sz="1600" b="0" i="0" u="sng" strike="noStrike" kern="0" cap="none" spc="0" normalizeH="0" baseline="0" noProof="1">
              <a:ln>
                <a:noFill/>
              </a:ln>
              <a:solidFill>
                <a:srgbClr val="F8F6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5F0FDF64-CD0B-13AA-9764-5D668B388095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1548" y="4511789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E88E245A-A70D-1433-43C7-663C338A59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5015" y="4099520"/>
            <a:ext cx="1771800" cy="63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48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F0B8307-5AD8-0B05-3891-22E818AFFD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46754" y="2479813"/>
            <a:ext cx="6537526" cy="2387600"/>
          </a:xfrm>
        </p:spPr>
        <p:txBody>
          <a:bodyPr anchor="t">
            <a:noAutofit/>
          </a:bodyPr>
          <a:lstStyle/>
          <a:p>
            <a:r>
              <a:rPr lang="en-GB" sz="2800" b="1" noProof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"missing middle" of </a:t>
            </a:r>
            <a:br>
              <a:rPr lang="en-GB" sz="2800" b="1" noProof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800" b="1" noProof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een IT: </a:t>
            </a:r>
            <a:br>
              <a:rPr lang="en-GB" sz="2800" b="1" noProof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2800" b="1" noProof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8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y twin transformation fails without skills development</a:t>
            </a:r>
            <a:endParaRPr lang="en-GB" sz="2800" b="1" noProof="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9472A0F-C935-B5AB-4598-6023141F26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84140" y="6356347"/>
            <a:ext cx="3685139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nning Klaffke &amp; Rainer Karch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EA1FF0-428D-6F7E-51F3-FA412C835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88880" y="6356348"/>
            <a:ext cx="2590799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Yanone Kaffeesatz Regular" panose="02000000000000000000" pitchFamily="2" charset="77"/>
              </a:defRPr>
            </a:lvl1pPr>
          </a:lstStyle>
          <a:p>
            <a:pPr algn="ctr"/>
            <a:r>
              <a:rPr lang="de-DE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47CBCC-0A23-6648-E932-AE10F2529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 bwMode="auto">
          <a:xfrm>
            <a:off x="0" y="3001789"/>
            <a:ext cx="4145281" cy="85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1">
            <a:extLst>
              <a:ext uri="{FF2B5EF4-FFF2-40B4-BE49-F238E27FC236}">
                <a16:creationId xmlns:a16="http://schemas.microsoft.com/office/drawing/2014/main" id="{17E1C9F3-AF70-4958-3F0C-C045D8E468A3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488590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Kleidung, Wand, Gelände enthält.&#10;&#10;KI-generierte Inhalte können fehlerhaft sein.">
            <a:extLst>
              <a:ext uri="{FF2B5EF4-FFF2-40B4-BE49-F238E27FC236}">
                <a16:creationId xmlns:a16="http://schemas.microsoft.com/office/drawing/2014/main" id="{06B14689-BAE5-7EB5-0F6F-EF529652D4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793" y="184150"/>
            <a:ext cx="6502400" cy="64897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EAC978E-E618-7C56-5813-BCB1E9841F57}"/>
              </a:ext>
            </a:extLst>
          </p:cNvPr>
          <p:cNvSpPr txBox="1"/>
          <p:nvPr/>
        </p:nvSpPr>
        <p:spPr>
          <a:xfrm>
            <a:off x="6732396" y="1951672"/>
            <a:ext cx="5459604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8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isation without sustainability is an acceleration in the wrong direction.</a:t>
            </a:r>
            <a:b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GB" sz="1800" b="0" i="1" u="none" strike="noStrike" kern="1200" cap="none" spc="0" normalizeH="0" baseline="0" noProof="0" dirty="0">
              <a:ln>
                <a:noFill/>
              </a:ln>
              <a:solidFill>
                <a:srgbClr val="0E0E0E"/>
              </a:solidFill>
              <a:effectLst/>
              <a:uLnTx/>
              <a:uFillTx/>
              <a:latin typeface=".AppleSystemUIFont"/>
              <a:ea typeface="+mn-ea"/>
              <a:cs typeface="+mn-cs"/>
            </a:endParaRPr>
          </a:p>
          <a:p>
            <a:pPr lvl="0" algn="ctr"/>
            <a:r>
              <a:rPr lang="en-GB" sz="2800" dirty="0">
                <a:solidFill>
                  <a:srgbClr val="9EBEA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 without digitalisation is too slow.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9EBEA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Grafik 11">
            <a:extLst>
              <a:ext uri="{FF2B5EF4-FFF2-40B4-BE49-F238E27FC236}">
                <a16:creationId xmlns:a16="http://schemas.microsoft.com/office/drawing/2014/main" id="{92074688-1529-B4A6-ACCE-1C19C6509D76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944310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89FCE-8297-2941-A14F-26848CC83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0" name="Picture 18" descr="Tagesgespräch vom 16.04.2025: Tiefdunkel, zartschmelzend oder als Hase: Was  ist an Schokolade so verführerisch?">
            <a:extLst>
              <a:ext uri="{FF2B5EF4-FFF2-40B4-BE49-F238E27FC236}">
                <a16:creationId xmlns:a16="http://schemas.microsoft.com/office/drawing/2014/main" id="{F98E971D-3546-DD55-A815-A04920015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688" y="1143000"/>
            <a:ext cx="1018121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1">
            <a:extLst>
              <a:ext uri="{FF2B5EF4-FFF2-40B4-BE49-F238E27FC236}">
                <a16:creationId xmlns:a16="http://schemas.microsoft.com/office/drawing/2014/main" id="{3CCDCEDA-CFB1-77C3-25AE-4806F7778248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8552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Mückensterben: So dramatisch ist es | BRIGITTE.de">
            <a:extLst>
              <a:ext uri="{FF2B5EF4-FFF2-40B4-BE49-F238E27FC236}">
                <a16:creationId xmlns:a16="http://schemas.microsoft.com/office/drawing/2014/main" id="{57D31DBA-9C21-47D1-4FE8-1B5D6CDD2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" y="904775"/>
            <a:ext cx="8929836" cy="595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2" descr="Ohne Mücke keine Schokolade | Naturschutz.ch">
            <a:extLst>
              <a:ext uri="{FF2B5EF4-FFF2-40B4-BE49-F238E27FC236}">
                <a16:creationId xmlns:a16="http://schemas.microsoft.com/office/drawing/2014/main" id="{121F401B-B622-38B6-747E-8A2E6D6BFA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5297" y="0"/>
            <a:ext cx="72437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 descr="Was hat die Mücke je für uns getan? - 28.04.2022">
            <a:extLst>
              <a:ext uri="{FF2B5EF4-FFF2-40B4-BE49-F238E27FC236}">
                <a16:creationId xmlns:a16="http://schemas.microsoft.com/office/drawing/2014/main" id="{E06DECF3-7508-7BD3-015B-0710B136B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2239"/>
            <a:ext cx="9160317" cy="687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1">
            <a:extLst>
              <a:ext uri="{FF2B5EF4-FFF2-40B4-BE49-F238E27FC236}">
                <a16:creationId xmlns:a16="http://schemas.microsoft.com/office/drawing/2014/main" id="{F4FA27AD-A515-8E6C-3856-5018FF86FB49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43701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75DD1089-54D5-F742-8A9A-F4ECB13D5C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7772400" imgH="10058400" progId="TCLayout.ActiveDocument.1">
                  <p:embed/>
                </p:oleObj>
              </mc:Choice>
              <mc:Fallback>
                <p:oleObj name="Diapositiva think-cell" r:id="rId5" imgW="7772400" imgH="10058400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75DD1089-54D5-F742-8A9A-F4ECB13D5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ttangolo 24" hidden="1">
            <a:extLst>
              <a:ext uri="{FF2B5EF4-FFF2-40B4-BE49-F238E27FC236}">
                <a16:creationId xmlns:a16="http://schemas.microsoft.com/office/drawing/2014/main" id="{B4B5B622-0BD6-8249-B2AD-9FD63EB966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133" b="1" i="0" u="none" strike="noStrike" kern="120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Arial Black" panose="020B0604020202020204" pitchFamily="34" charset="0"/>
              <a:ea typeface="+mn-ea"/>
              <a:cs typeface="+mn-cs"/>
              <a:sym typeface="Arial Black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779305-3318-D74C-BFC0-0680BA3563A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435725"/>
            <a:ext cx="4724400" cy="88900"/>
          </a:xfrm>
        </p:spPr>
        <p:txBody>
          <a:bodyPr>
            <a:normAutofit fontScale="25000" lnSpcReduction="20000"/>
          </a:bodyPr>
          <a:lstStyle/>
          <a:p>
            <a:r>
              <a:rPr lang="de-DE" sz="800">
                <a:solidFill>
                  <a:schemeClr val="bg1"/>
                </a:solidFill>
              </a:rPr>
              <a:t>Source: The Twin Transformation Butterfly</a:t>
            </a:r>
            <a:endParaRPr lang="en-GB" sz="800">
              <a:solidFill>
                <a:schemeClr val="bg1"/>
              </a:solidFill>
            </a:endParaRPr>
          </a:p>
          <a:p>
            <a:endParaRPr lang="en-US"/>
          </a:p>
        </p:txBody>
      </p:sp>
      <p:pic>
        <p:nvPicPr>
          <p:cNvPr id="11" name="Grafik 10" descr="Ein Bild, das Nachtfalter und Schmetterlinge, Wirbellose, Insekt, Schmetterling enthält.&#10;&#10;Automatisch generierte Beschreibung">
            <a:extLst>
              <a:ext uri="{FF2B5EF4-FFF2-40B4-BE49-F238E27FC236}">
                <a16:creationId xmlns:a16="http://schemas.microsoft.com/office/drawing/2014/main" id="{0750E1C3-4F08-F277-9064-127856048F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43118" y="1324097"/>
            <a:ext cx="5713947" cy="5713947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FE79B26A-F22F-6C70-1A5D-4B4AB516B37E}"/>
              </a:ext>
            </a:extLst>
          </p:cNvPr>
          <p:cNvSpPr txBox="1"/>
          <p:nvPr/>
        </p:nvSpPr>
        <p:spPr>
          <a:xfrm>
            <a:off x="5333187" y="1504978"/>
            <a:ext cx="21338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7">
              <a:defRPr/>
            </a:pP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y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Bogen 29">
            <a:extLst>
              <a:ext uri="{FF2B5EF4-FFF2-40B4-BE49-F238E27FC236}">
                <a16:creationId xmlns:a16="http://schemas.microsoft.com/office/drawing/2014/main" id="{41B961E0-1C8B-445F-81E3-3CCB1D37EF41}"/>
              </a:ext>
            </a:extLst>
          </p:cNvPr>
          <p:cNvSpPr/>
          <p:nvPr/>
        </p:nvSpPr>
        <p:spPr>
          <a:xfrm rot="10800000">
            <a:off x="4282816" y="4717098"/>
            <a:ext cx="4071929" cy="1312723"/>
          </a:xfrm>
          <a:prstGeom prst="arc">
            <a:avLst>
              <a:gd name="adj1" fmla="val 10924131"/>
              <a:gd name="adj2" fmla="val 21442455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Bogen 30">
            <a:extLst>
              <a:ext uri="{FF2B5EF4-FFF2-40B4-BE49-F238E27FC236}">
                <a16:creationId xmlns:a16="http://schemas.microsoft.com/office/drawing/2014/main" id="{CDE9185E-19AE-F70F-D8AA-E7CC87B90478}"/>
              </a:ext>
            </a:extLst>
          </p:cNvPr>
          <p:cNvSpPr/>
          <p:nvPr/>
        </p:nvSpPr>
        <p:spPr>
          <a:xfrm>
            <a:off x="3406292" y="1859413"/>
            <a:ext cx="6178481" cy="1312723"/>
          </a:xfrm>
          <a:prstGeom prst="arc">
            <a:avLst>
              <a:gd name="adj1" fmla="val 10574530"/>
              <a:gd name="adj2" fmla="val 27267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703A8C6-16C8-FD1F-46AA-0CB289C5F8F5}"/>
              </a:ext>
            </a:extLst>
          </p:cNvPr>
          <p:cNvSpPr/>
          <p:nvPr/>
        </p:nvSpPr>
        <p:spPr>
          <a:xfrm>
            <a:off x="7252781" y="2815007"/>
            <a:ext cx="3082305" cy="1016175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ization</a:t>
            </a: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</a:t>
            </a: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ation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2021BD9-6915-BA6A-54E5-8CDB3F22E621}"/>
              </a:ext>
            </a:extLst>
          </p:cNvPr>
          <p:cNvSpPr/>
          <p:nvPr/>
        </p:nvSpPr>
        <p:spPr>
          <a:xfrm>
            <a:off x="2214385" y="2833113"/>
            <a:ext cx="3182604" cy="1036043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ping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gital </a:t>
            </a: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ation</a:t>
            </a:r>
            <a:br>
              <a:rPr lang="de-DE" sz="14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14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l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872C7E2-00BB-E4A8-CF34-8BBA0A18E40C}"/>
              </a:ext>
            </a:extLst>
          </p:cNvPr>
          <p:cNvSpPr/>
          <p:nvPr/>
        </p:nvSpPr>
        <p:spPr>
          <a:xfrm>
            <a:off x="7380372" y="4359970"/>
            <a:ext cx="2065679" cy="998068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ed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utsid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CB2A6A5-1D5F-42EA-397F-B4BBC32B4C75}"/>
              </a:ext>
            </a:extLst>
          </p:cNvPr>
          <p:cNvSpPr/>
          <p:nvPr/>
        </p:nvSpPr>
        <p:spPr>
          <a:xfrm>
            <a:off x="3331310" y="4371810"/>
            <a:ext cx="2065679" cy="998068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ed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u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DA745CC-C5C9-4863-1C03-03118E6F17EB}"/>
              </a:ext>
            </a:extLst>
          </p:cNvPr>
          <p:cNvSpPr/>
          <p:nvPr/>
        </p:nvSpPr>
        <p:spPr>
          <a:xfrm>
            <a:off x="5148327" y="6094101"/>
            <a:ext cx="2608298" cy="439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algn="ctr" defTabSz="914377">
              <a:defRPr/>
            </a:pPr>
            <a:r>
              <a:rPr lang="de-DE" sz="1200" dirty="0">
                <a:solidFill>
                  <a:srgbClr val="FAFAF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ort-Option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14">
            <a:extLst>
              <a:ext uri="{FF2B5EF4-FFF2-40B4-BE49-F238E27FC236}">
                <a16:creationId xmlns:a16="http://schemas.microsoft.com/office/drawing/2014/main" id="{F8BD3601-F4EB-C24C-13A8-CE0EF37E0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5677"/>
            <a:ext cx="10515600" cy="1325563"/>
          </a:xfrm>
        </p:spPr>
        <p:txBody>
          <a:bodyPr>
            <a:normAutofit/>
          </a:bodyPr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win Transformation- </a:t>
            </a:r>
            <a:b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8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 &amp; Sustainable</a:t>
            </a:r>
            <a:endParaRPr lang="de-DE" sz="280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Grafik 11">
            <a:extLst>
              <a:ext uri="{FF2B5EF4-FFF2-40B4-BE49-F238E27FC236}">
                <a16:creationId xmlns:a16="http://schemas.microsoft.com/office/drawing/2014/main" id="{FCF549FC-C6D0-EEBD-85D5-2EE4451B7997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91086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3" grpId="0" animBg="1"/>
      <p:bldP spid="4" grpId="0" animBg="1"/>
      <p:bldP spid="6" grpId="0" animBg="1"/>
      <p:bldP spid="8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509C4-65B7-6368-DB1A-C4C74139E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168464-0D2F-C28B-EFEC-740159EE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7597" y="2361851"/>
            <a:ext cx="2852928" cy="2359787"/>
          </a:xfrm>
        </p:spPr>
        <p:txBody>
          <a:bodyPr>
            <a:normAutofit/>
          </a:bodyPr>
          <a:lstStyle/>
          <a:p>
            <a:pPr algn="ctr"/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pack</a:t>
            </a:r>
            <a:b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ll</a:t>
            </a:r>
            <a:r>
              <a:rPr lang="de-DE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4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environmental) </a:t>
            </a:r>
            <a:r>
              <a:rPr lang="de-DE" sz="24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fluences</a:t>
            </a:r>
            <a:endParaRPr lang="de-DE" sz="240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Grafik 4" descr="Ein Bild, das Wolke, Luftfotografie, Vogelperspektive, draußen enthält.">
            <a:extLst>
              <a:ext uri="{FF2B5EF4-FFF2-40B4-BE49-F238E27FC236}">
                <a16:creationId xmlns:a16="http://schemas.microsoft.com/office/drawing/2014/main" id="{1A3444D6-A093-E05C-EE37-8F0C7F259BB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/>
        </p:blipFill>
        <p:spPr>
          <a:xfrm>
            <a:off x="0" y="416581"/>
            <a:ext cx="7210892" cy="5408169"/>
          </a:xfrm>
          <a:prstGeom prst="rect">
            <a:avLst/>
          </a:prstGeom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A1220525-3BF0-5400-B317-8F082BC13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C9FE9F3-B409-8F86-88F6-DCBE0F0C4223}"/>
              </a:ext>
            </a:extLst>
          </p:cNvPr>
          <p:cNvSpPr txBox="1"/>
          <p:nvPr/>
        </p:nvSpPr>
        <p:spPr>
          <a:xfrm>
            <a:off x="89065" y="6061390"/>
            <a:ext cx="11827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OpenAI Stargate – 5GW (</a:t>
            </a:r>
            <a:r>
              <a:rPr kumimoji="0" lang="de-DE" sz="1800" b="1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43,8 TWh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)at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star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, 10GW (</a:t>
            </a:r>
            <a:r>
              <a:rPr kumimoji="0" lang="de-DE" sz="1800" b="1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87,6 TWh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)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ful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2" charset="0"/>
              </a:rPr>
              <a:t> swing –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corresponds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to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annual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consumption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of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one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to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two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medium-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sized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EU countries such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as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Portugal,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Greece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</a:t>
            </a:r>
            <a:r>
              <a:rPr kumimoji="0" lang="de-DE" sz="1800" b="0" i="0" u="none" strike="noStrike" kern="1" cap="none" spc="0" normalizeH="0" baseline="0" noProof="0" dirty="0" err="1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or</a:t>
            </a:r>
            <a:r>
              <a:rPr kumimoji="0" lang="de-DE" sz="1800" b="0" i="0" u="none" strike="noStrike" kern="1" cap="none" spc="0" normalizeH="0" baseline="0" noProof="0" dirty="0">
                <a:ln>
                  <a:noFill/>
                </a:ln>
                <a:solidFill>
                  <a:srgbClr val="F8F6FA"/>
                </a:solidFill>
                <a:effectLst/>
                <a:uLnTx/>
                <a:uFillTx/>
                <a:latin typeface="Calibri" pitchFamily="2" charset="0"/>
                <a:cs typeface="Calibri" pitchFamily="2" charset="0"/>
              </a:rPr>
              <a:t> Austria.</a:t>
            </a:r>
          </a:p>
        </p:txBody>
      </p:sp>
      <p:pic>
        <p:nvPicPr>
          <p:cNvPr id="4" name="Grafik 11">
            <a:extLst>
              <a:ext uri="{FF2B5EF4-FFF2-40B4-BE49-F238E27FC236}">
                <a16:creationId xmlns:a16="http://schemas.microsoft.com/office/drawing/2014/main" id="{789A5339-8DB0-68B6-49D6-841563D5F86F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7156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Flasche, Lösung, Vase, Pflanze enthält.">
            <a:extLst>
              <a:ext uri="{FF2B5EF4-FFF2-40B4-BE49-F238E27FC236}">
                <a16:creationId xmlns:a16="http://schemas.microsoft.com/office/drawing/2014/main" id="{E80BC648-B088-531D-AC0E-94E79FEB2C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91302" y="410853"/>
            <a:ext cx="4169031" cy="416903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8E31CDB-4355-789D-8866-06B9661394EA}"/>
              </a:ext>
            </a:extLst>
          </p:cNvPr>
          <p:cNvSpPr txBox="1"/>
          <p:nvPr/>
        </p:nvSpPr>
        <p:spPr>
          <a:xfrm>
            <a:off x="191302" y="4756398"/>
            <a:ext cx="443149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 - Chat GPT-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–50 Prompts = 0,5 Liter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ter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 - Chat GPT-4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ngl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mpt = 0,5 Liter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te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9EBEA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9EBEA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 – Chat GPT-5: 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E3A1580-0786-CA45-71A2-D1F3088E7C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/>
          <a:stretch/>
        </p:blipFill>
        <p:spPr>
          <a:xfrm>
            <a:off x="5358521" y="2671883"/>
            <a:ext cx="6253546" cy="416903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4E5981C-2E54-D935-C2AD-6AE853AD7126}"/>
              </a:ext>
            </a:extLst>
          </p:cNvPr>
          <p:cNvSpPr txBox="1"/>
          <p:nvPr/>
        </p:nvSpPr>
        <p:spPr>
          <a:xfrm>
            <a:off x="5718208" y="1479706"/>
            <a:ext cx="60976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ntre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t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te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9EBEA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9EBEA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E41CD1AC-DBFA-6F1A-AF3D-7FBC5D67B15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466" y="264181"/>
            <a:ext cx="1913110" cy="684000"/>
          </a:xfrm>
          <a:prstGeom prst="rect">
            <a:avLst/>
          </a:prstGeom>
        </p:spPr>
      </p:pic>
      <p:pic>
        <p:nvPicPr>
          <p:cNvPr id="3" name="Grafik 11">
            <a:extLst>
              <a:ext uri="{FF2B5EF4-FFF2-40B4-BE49-F238E27FC236}">
                <a16:creationId xmlns:a16="http://schemas.microsoft.com/office/drawing/2014/main" id="{B4988997-E3FC-ED34-1639-580AA85CFE0F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58569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Five key labour-market drivers - Future of Jobs Report 2025">
            <a:extLst>
              <a:ext uri="{FF2B5EF4-FFF2-40B4-BE49-F238E27FC236}">
                <a16:creationId xmlns:a16="http://schemas.microsoft.com/office/drawing/2014/main" id="{F6E9BA8D-5057-F7A3-1D44-3CB3D6D55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1">
            <a:extLst>
              <a:ext uri="{FF2B5EF4-FFF2-40B4-BE49-F238E27FC236}">
                <a16:creationId xmlns:a16="http://schemas.microsoft.com/office/drawing/2014/main" id="{DED3AE12-82EC-BD79-8181-2B08B5ED6432}"/>
              </a:ext>
            </a:extLst>
          </p:cNvPr>
          <p:cNvPicPr>
            <a:picLocks noChangeAspect="1"/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8_NrZSYRMAAAAlAAAAEQAAAC0AAAAAkAAAAEgAAACQAAAASAAAAAAAAAAAAAAAAAAAAAEAAABQAAAAAAAAAAAA4D8AAAAAAADgPwAAAAAAAOA/AAAAAAAA4D8AAAAAAADgPwAAAAAAAOA/AAAAAAAA4D8AAAAAAADgPwAAAAAAAOA/AAAAAAAA4D8CAAAAjAAAAAAAAAAAAAAAAJym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///8KAAAAACgAAAAoAAAAZAAAAGQAAAAAAAAAzMzMAAAAAABQAAAAUAAAAGQAAABkAAAAAAAAAAcAAAA4AAAAAAAAAAAAAAAAAAAA////AAAAAAAAAAAAAAAAAAAAAAAAAAAAAAAAAAAAAABkAAAAZAAAAAAAAAAjAAAABAAAAGQAAAAXAAAAFAAAAAAAAAAAAAAA/38AAP9/AAAAAAAACQAAAAQAAAAAAAAAHgAAAGgAAAAAAAAAAAAAAAAAAAAAAAAAAAAAABAnAAAQJwAAAAAAAAAAAAAAAAAAAAAAAAAAAAAAAAAAAAAAAAAAAAAUAAAAAAAAAMDA/wAAAAAAZAAAADIAAAAAAAAAZAAAAAAAAAB/f38ACgAAACIAAAAYAAAAAAAAAAAAAAAAAAAAAAAAAAAAAAAAAAAAJAAAACQAAAAAAAAABwAAAAAAAAAAAAAAAAAAAAAAAAAAAAAAAAAAAH9/fwAlAAAAWAAAAAAAAAAAAAAAAAAAAAAAAAAAAAAAAAAAAAAAAAAAAAAAAAAAAAAAAAAAAAAAPwAAAAAAAACghgEAAAAAAAAAAAAAAAAADAAAAAEAAAAAAAAAAAAAAAAAAAAfAAAAVAAAAACcpgX///8BAAAAAAAAAAAAAAAAAAAAAAAAAAAAAAAAAAAAAAAAAAAAAAACf39/AP///wPMzMwAwMD/AH9/fwAAAAAAAAAAAAAAAAD///8AAAAAACEAAAAYAAAAFAAAALszAACkAgAAT0cAABwHAAAQAAAAJgAAAAgAAAD//////////zAAAAAUAAAAAAAAAAAA//8AAAEAAAD//wAAAQA="/>
              </a:ext>
            </a:extLst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97" y="492405"/>
            <a:ext cx="1672963" cy="381858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7E61BE41-8B94-45DA-CC93-2D544F2B9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7597" y="2361851"/>
            <a:ext cx="2852928" cy="2359787"/>
          </a:xfrm>
        </p:spPr>
        <p:txBody>
          <a:bodyPr>
            <a:normAutofit/>
          </a:bodyPr>
          <a:lstStyle/>
          <a:p>
            <a:pPr algn="ctr"/>
            <a: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</a:t>
            </a:r>
            <a:r>
              <a:rPr lang="de-D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ure</a:t>
            </a:r>
            <a:br>
              <a:rPr lang="de-D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4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2400" dirty="0" err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bs</a:t>
            </a:r>
            <a:r>
              <a:rPr lang="de-DE" sz="240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6976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2|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MiBTJwPt4o8Jv2QxqIw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19486A"/>
      </a:dk1>
      <a:lt1>
        <a:srgbClr val="F8F6FA"/>
      </a:lt1>
      <a:dk2>
        <a:srgbClr val="19486A"/>
      </a:dk2>
      <a:lt2>
        <a:srgbClr val="F5F8F5"/>
      </a:lt2>
      <a:accent1>
        <a:srgbClr val="BCA3CD"/>
      </a:accent1>
      <a:accent2>
        <a:srgbClr val="DDD1E6"/>
      </a:accent2>
      <a:accent3>
        <a:srgbClr val="9EBEA1"/>
      </a:accent3>
      <a:accent4>
        <a:srgbClr val="F5F8F5"/>
      </a:accent4>
      <a:accent5>
        <a:srgbClr val="7D95A6"/>
      </a:accent5>
      <a:accent6>
        <a:srgbClr val="D9DBDD"/>
      </a:accent6>
      <a:hlink>
        <a:srgbClr val="7D95A6"/>
      </a:hlink>
      <a:folHlink>
        <a:srgbClr val="7D95A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artprint Template" id="{AACDEAB3-A685-4935-B5D4-9497A8DE6728}" vid="{52D0C884-ED1A-44A1-907D-72163A9D0C14}"/>
    </a:ext>
  </a:extLst>
</a:theme>
</file>

<file path=ppt/theme/theme2.xml><?xml version="1.0" encoding="utf-8"?>
<a:theme xmlns:a="http://schemas.openxmlformats.org/drawingml/2006/main" name="Content charts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326324F9-2B89-40BF-B97F-8B0751AA9E92}"/>
    </a:ext>
  </a:extLst>
</a:theme>
</file>

<file path=ppt/theme/theme3.xml><?xml version="1.0" encoding="utf-8"?>
<a:theme xmlns:a="http://schemas.openxmlformats.org/drawingml/2006/main" name="6_Content charts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" id="{FB0CB869-110C-40C6-B816-E120CC4E4EA4}" vid="{326324F9-2B89-40BF-B97F-8B0751AA9E92}"/>
    </a:ext>
  </a:extLst>
</a:theme>
</file>

<file path=ppt/theme/theme4.xml><?xml version="1.0" encoding="utf-8"?>
<a:theme xmlns:a="http://schemas.openxmlformats.org/drawingml/2006/main" name="7_Content charts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.potx" id="{BDEB0E28-CD62-4F68-B02D-6F9C01032E96}" vid="{68A4BE0F-2471-43F2-A53D-1955CFB6D713}"/>
    </a:ext>
  </a:extLst>
</a:theme>
</file>

<file path=ppt/theme/theme5.xml><?xml version="1.0" encoding="utf-8"?>
<a:theme xmlns:a="http://schemas.openxmlformats.org/drawingml/2006/main" name="4_Content charts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.potx" id="{59612F79-7057-41F4-AF53-A6D5B852C60A}" vid="{0C913C35-12A3-46F4-90A5-4EB0E8B5AB6F}"/>
    </a:ext>
  </a:extLst>
</a:theme>
</file>

<file path=ppt/theme/theme6.xml><?xml version="1.0" encoding="utf-8"?>
<a:theme xmlns:a="http://schemas.openxmlformats.org/drawingml/2006/main" name="3_Office Theme">
  <a:themeElements>
    <a:clrScheme name="Custom 10">
      <a:dk1>
        <a:srgbClr val="19486A"/>
      </a:dk1>
      <a:lt1>
        <a:srgbClr val="F8F6FA"/>
      </a:lt1>
      <a:dk2>
        <a:srgbClr val="19486A"/>
      </a:dk2>
      <a:lt2>
        <a:srgbClr val="F5F8F5"/>
      </a:lt2>
      <a:accent1>
        <a:srgbClr val="BCA3CD"/>
      </a:accent1>
      <a:accent2>
        <a:srgbClr val="DDD1E6"/>
      </a:accent2>
      <a:accent3>
        <a:srgbClr val="9EBEA1"/>
      </a:accent3>
      <a:accent4>
        <a:srgbClr val="F5F8F5"/>
      </a:accent4>
      <a:accent5>
        <a:srgbClr val="7D95A6"/>
      </a:accent5>
      <a:accent6>
        <a:srgbClr val="D9DBDD"/>
      </a:accent6>
      <a:hlink>
        <a:srgbClr val="7D95A6"/>
      </a:hlink>
      <a:folHlink>
        <a:srgbClr val="7D95A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artprint Template" id="{AACDEAB3-A685-4935-B5D4-9497A8DE6728}" vid="{52D0C884-ED1A-44A1-907D-72163A9D0C14}"/>
    </a:ext>
  </a:extLst>
</a:theme>
</file>

<file path=ppt/theme/theme7.xml><?xml version="1.0" encoding="utf-8"?>
<a:theme xmlns:a="http://schemas.openxmlformats.org/drawingml/2006/main" name="1_Office Theme">
  <a:themeElements>
    <a:clrScheme name="Custom 10">
      <a:dk1>
        <a:srgbClr val="19486A"/>
      </a:dk1>
      <a:lt1>
        <a:srgbClr val="F8F6FA"/>
      </a:lt1>
      <a:dk2>
        <a:srgbClr val="19486A"/>
      </a:dk2>
      <a:lt2>
        <a:srgbClr val="F5F8F5"/>
      </a:lt2>
      <a:accent1>
        <a:srgbClr val="BCA3CD"/>
      </a:accent1>
      <a:accent2>
        <a:srgbClr val="DDD1E6"/>
      </a:accent2>
      <a:accent3>
        <a:srgbClr val="9EBEA1"/>
      </a:accent3>
      <a:accent4>
        <a:srgbClr val="F5F8F5"/>
      </a:accent4>
      <a:accent5>
        <a:srgbClr val="7D95A6"/>
      </a:accent5>
      <a:accent6>
        <a:srgbClr val="D9DBDD"/>
      </a:accent6>
      <a:hlink>
        <a:srgbClr val="7D95A6"/>
      </a:hlink>
      <a:folHlink>
        <a:srgbClr val="7D95A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artprint Template" id="{AACDEAB3-A685-4935-B5D4-9497A8DE6728}" vid="{52D0C884-ED1A-44A1-907D-72163A9D0C14}"/>
    </a:ext>
  </a:extLst>
</a:theme>
</file>

<file path=ppt/theme/theme8.xml><?xml version="1.0" encoding="utf-8"?>
<a:theme xmlns:a="http://schemas.openxmlformats.org/drawingml/2006/main" name="2_Office Theme">
  <a:themeElements>
    <a:clrScheme name="Custom 10">
      <a:dk1>
        <a:srgbClr val="19486A"/>
      </a:dk1>
      <a:lt1>
        <a:srgbClr val="F8F6FA"/>
      </a:lt1>
      <a:dk2>
        <a:srgbClr val="19486A"/>
      </a:dk2>
      <a:lt2>
        <a:srgbClr val="F5F8F5"/>
      </a:lt2>
      <a:accent1>
        <a:srgbClr val="BCA3CD"/>
      </a:accent1>
      <a:accent2>
        <a:srgbClr val="DDD1E6"/>
      </a:accent2>
      <a:accent3>
        <a:srgbClr val="9EBEA1"/>
      </a:accent3>
      <a:accent4>
        <a:srgbClr val="F5F8F5"/>
      </a:accent4>
      <a:accent5>
        <a:srgbClr val="7D95A6"/>
      </a:accent5>
      <a:accent6>
        <a:srgbClr val="D9DBDD"/>
      </a:accent6>
      <a:hlink>
        <a:srgbClr val="7D95A6"/>
      </a:hlink>
      <a:folHlink>
        <a:srgbClr val="7D95A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artprint Template" id="{AACDEAB3-A685-4935-B5D4-9497A8DE6728}" vid="{52D0C884-ED1A-44A1-907D-72163A9D0C1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eartprint Template - Copy</Template>
  <TotalTime>0</TotalTime>
  <Words>582</Words>
  <Application>Microsoft Macintosh PowerPoint</Application>
  <PresentationFormat>Breitbild</PresentationFormat>
  <Paragraphs>100</Paragraphs>
  <Slides>18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8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8</vt:i4>
      </vt:variant>
    </vt:vector>
  </HeadingPairs>
  <TitlesOfParts>
    <vt:vector size="39" baseType="lpstr">
      <vt:lpstr>.AppleSystemUIFont</vt:lpstr>
      <vt:lpstr>Allianz Neo</vt:lpstr>
      <vt:lpstr>Arial</vt:lpstr>
      <vt:lpstr>Arial Black</vt:lpstr>
      <vt:lpstr>Calibri</vt:lpstr>
      <vt:lpstr>Calibri Light</vt:lpstr>
      <vt:lpstr>Montserrat Bold</vt:lpstr>
      <vt:lpstr>Montserrat SemiBold</vt:lpstr>
      <vt:lpstr>Symbol</vt:lpstr>
      <vt:lpstr>Verdana</vt:lpstr>
      <vt:lpstr>Yanone Kaffeesatz Regular</vt:lpstr>
      <vt:lpstr>Office Theme</vt:lpstr>
      <vt:lpstr>Content charts blue</vt:lpstr>
      <vt:lpstr>6_Content charts blue</vt:lpstr>
      <vt:lpstr>7_Content charts blue</vt:lpstr>
      <vt:lpstr>4_Content charts blue</vt:lpstr>
      <vt:lpstr>3_Office Theme</vt:lpstr>
      <vt:lpstr>1_Office Theme</vt:lpstr>
      <vt:lpstr>2_Office Theme</vt:lpstr>
      <vt:lpstr>think-cell Slide</vt:lpstr>
      <vt:lpstr>Diapositiva think-cell</vt:lpstr>
      <vt:lpstr>Prof Dr. Henning Klaffke  Professor of Applied Computer Science BHH  Rainer Karcher   Founder &amp; CEO Heartprint GmbH  Chief Sustainability Officer SustainableIT.org </vt:lpstr>
      <vt:lpstr>The "missing middle" of  Green IT:   Why twin transformation fails without skills development</vt:lpstr>
      <vt:lpstr>PowerPoint-Präsentation</vt:lpstr>
      <vt:lpstr>PowerPoint-Präsentation</vt:lpstr>
      <vt:lpstr>PowerPoint-Präsentation</vt:lpstr>
      <vt:lpstr>Twin Transformation-  Digital &amp; Sustainable</vt:lpstr>
      <vt:lpstr>A backpack full of (environmental) influences</vt:lpstr>
      <vt:lpstr>PowerPoint-Präsentation</vt:lpstr>
      <vt:lpstr>The future of jobs </vt:lpstr>
      <vt:lpstr>The thesis: In the next 5 years, millions of people will lose their jobs to AI</vt:lpstr>
      <vt:lpstr>Identifying the Real Bottleneck:  The Competence Gap </vt:lpstr>
      <vt:lpstr>NABIT: Education as Enabler</vt:lpstr>
      <vt:lpstr>NABIT: Collaboration for the good</vt:lpstr>
      <vt:lpstr>Theoretical &amp; Practical Solutions:</vt:lpstr>
      <vt:lpstr>Why this matters to you</vt:lpstr>
      <vt:lpstr>PowerPoint-Präsentation</vt:lpstr>
      <vt:lpstr>Twin Transformation</vt:lpstr>
      <vt:lpstr>The future does not just happen. It is created by us. A fair future for all is our shared responsibility.</vt:lpstr>
    </vt:vector>
  </TitlesOfParts>
  <Company>Allian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idrich, Birgit (Allianz Technology)</dc:creator>
  <cp:keywords>, docId:9D17FFFD583D5415EA511594A741D7CF</cp:keywords>
  <cp:lastModifiedBy>Rainer Karcher</cp:lastModifiedBy>
  <cp:revision>59</cp:revision>
  <dcterms:created xsi:type="dcterms:W3CDTF">2024-05-14T08:38:39Z</dcterms:created>
  <dcterms:modified xsi:type="dcterms:W3CDTF">2025-11-12T16:2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e5f591a-3248-43e9-9b70-1ad50135772d_Enabled">
    <vt:lpwstr>true</vt:lpwstr>
  </property>
  <property fmtid="{D5CDD505-2E9C-101B-9397-08002B2CF9AE}" pid="3" name="MSIP_Label_ce5f591a-3248-43e9-9b70-1ad50135772d_SetDate">
    <vt:lpwstr>2024-05-10T18:46:23Z</vt:lpwstr>
  </property>
  <property fmtid="{D5CDD505-2E9C-101B-9397-08002B2CF9AE}" pid="4" name="MSIP_Label_ce5f591a-3248-43e9-9b70-1ad50135772d_Method">
    <vt:lpwstr>Privileged</vt:lpwstr>
  </property>
  <property fmtid="{D5CDD505-2E9C-101B-9397-08002B2CF9AE}" pid="5" name="MSIP_Label_ce5f591a-3248-43e9-9b70-1ad50135772d_Name">
    <vt:lpwstr>ce5f591a-3248-43e9-9b70-1ad50135772d</vt:lpwstr>
  </property>
  <property fmtid="{D5CDD505-2E9C-101B-9397-08002B2CF9AE}" pid="6" name="MSIP_Label_ce5f591a-3248-43e9-9b70-1ad50135772d_SiteId">
    <vt:lpwstr>6e06e42d-6925-47c6-b9e7-9581c7ca302a</vt:lpwstr>
  </property>
  <property fmtid="{D5CDD505-2E9C-101B-9397-08002B2CF9AE}" pid="7" name="MSIP_Label_ce5f591a-3248-43e9-9b70-1ad50135772d_ActionId">
    <vt:lpwstr>3064e75d-17a8-4652-9623-de80d74e5973</vt:lpwstr>
  </property>
  <property fmtid="{D5CDD505-2E9C-101B-9397-08002B2CF9AE}" pid="8" name="MSIP_Label_ce5f591a-3248-43e9-9b70-1ad50135772d_ContentBits">
    <vt:lpwstr>0</vt:lpwstr>
  </property>
  <property fmtid="{D5CDD505-2E9C-101B-9397-08002B2CF9AE}" pid="9" name="_AdHocReviewCycleID">
    <vt:i4>-506670624</vt:i4>
  </property>
  <property fmtid="{D5CDD505-2E9C-101B-9397-08002B2CF9AE}" pid="10" name="_NewReviewCycle">
    <vt:lpwstr/>
  </property>
  <property fmtid="{D5CDD505-2E9C-101B-9397-08002B2CF9AE}" pid="11" name="_EmailSubject">
    <vt:lpwstr>Slides</vt:lpwstr>
  </property>
  <property fmtid="{D5CDD505-2E9C-101B-9397-08002B2CF9AE}" pid="12" name="_AuthorEmail">
    <vt:lpwstr>birgit.fridrich@allianz.de</vt:lpwstr>
  </property>
  <property fmtid="{D5CDD505-2E9C-101B-9397-08002B2CF9AE}" pid="13" name="_AuthorEmailDisplayName">
    <vt:lpwstr>Fridrich, Birgit (Allianz Technology)</vt:lpwstr>
  </property>
</Properties>
</file>